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700" r:id="rId6"/>
  </p:sldMasterIdLst>
  <p:notesMasterIdLst>
    <p:notesMasterId r:id="rId19"/>
  </p:notesMasterIdLst>
  <p:sldIdLst>
    <p:sldId id="279" r:id="rId7"/>
    <p:sldId id="2147480065" r:id="rId8"/>
    <p:sldId id="263" r:id="rId9"/>
    <p:sldId id="2147480076" r:id="rId10"/>
    <p:sldId id="2147480077" r:id="rId11"/>
    <p:sldId id="2147480075" r:id="rId12"/>
    <p:sldId id="2147480069" r:id="rId13"/>
    <p:sldId id="2147480070" r:id="rId14"/>
    <p:sldId id="2147480068" r:id="rId15"/>
    <p:sldId id="2147480071" r:id="rId16"/>
    <p:sldId id="2147480072" r:id="rId17"/>
    <p:sldId id="2147479993"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EA2406-CAB9-2FEB-C523-A62D57071A69}" name="Tiwari, Rashika" initials="RT" userId="S::Rashika.Tiwari@lr.org::ffd7dc98-58d1-4b72-a1f4-65ee5bc1e7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04AA9E"/>
    <a:srgbClr val="00C0AE"/>
    <a:srgbClr val="CAF2FF"/>
    <a:srgbClr val="2D830E"/>
    <a:srgbClr val="CC3300"/>
    <a:srgbClr val="004667"/>
    <a:srgbClr val="446A7B"/>
    <a:srgbClr val="0B76A0"/>
    <a:srgbClr val="2E2D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C92EF9-5477-07C8-FD45-4B7C051AA8FB}" v="26" dt="2026-01-09T07:22:18.456"/>
    <p1510:client id="{4C470ED8-A01B-439C-9877-B7A64AD782FD}" v="39" dt="2026-01-09T07:27:08.1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54"/>
  </p:normalViewPr>
  <p:slideViewPr>
    <p:cSldViewPr snapToGrid="0">
      <p:cViewPr varScale="1">
        <p:scale>
          <a:sx n="99" d="100"/>
          <a:sy n="99" d="100"/>
        </p:scale>
        <p:origin x="96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ur, Amrita" userId="c9d21949-1db3-4d44-ad70-25eeb4a5ad11" providerId="ADAL" clId="{9A698DBC-7E87-4BD5-A154-776235AFF2B7}"/>
    <pc:docChg chg="undo custSel addSld delSld modSld sldOrd">
      <pc:chgData name="Kaur, Amrita" userId="c9d21949-1db3-4d44-ad70-25eeb4a5ad11" providerId="ADAL" clId="{9A698DBC-7E87-4BD5-A154-776235AFF2B7}" dt="2026-01-07T16:51:34.892" v="105"/>
      <pc:docMkLst>
        <pc:docMk/>
      </pc:docMkLst>
      <pc:sldChg chg="modNotesTx">
        <pc:chgData name="Kaur, Amrita" userId="c9d21949-1db3-4d44-ad70-25eeb4a5ad11" providerId="ADAL" clId="{9A698DBC-7E87-4BD5-A154-776235AFF2B7}" dt="2026-01-07T16:12:40.438" v="2" actId="20577"/>
        <pc:sldMkLst>
          <pc:docMk/>
          <pc:sldMk cId="2907542296" sldId="263"/>
        </pc:sldMkLst>
      </pc:sldChg>
      <pc:sldChg chg="modNotesTx">
        <pc:chgData name="Kaur, Amrita" userId="c9d21949-1db3-4d44-ad70-25eeb4a5ad11" providerId="ADAL" clId="{9A698DBC-7E87-4BD5-A154-776235AFF2B7}" dt="2026-01-07T16:12:27.578" v="0" actId="20577"/>
        <pc:sldMkLst>
          <pc:docMk/>
          <pc:sldMk cId="3767606912" sldId="279"/>
        </pc:sldMkLst>
      </pc:sldChg>
      <pc:sldChg chg="modNotesTx">
        <pc:chgData name="Kaur, Amrita" userId="c9d21949-1db3-4d44-ad70-25eeb4a5ad11" providerId="ADAL" clId="{9A698DBC-7E87-4BD5-A154-776235AFF2B7}" dt="2026-01-07T16:12:33.569" v="1" actId="20577"/>
        <pc:sldMkLst>
          <pc:docMk/>
          <pc:sldMk cId="2190633324" sldId="2147480065"/>
        </pc:sldMkLst>
      </pc:sldChg>
      <pc:sldChg chg="modSp mod">
        <pc:chgData name="Kaur, Amrita" userId="c9d21949-1db3-4d44-ad70-25eeb4a5ad11" providerId="ADAL" clId="{9A698DBC-7E87-4BD5-A154-776235AFF2B7}" dt="2026-01-07T16:50:06.788" v="74" actId="207"/>
        <pc:sldMkLst>
          <pc:docMk/>
          <pc:sldMk cId="3292769897" sldId="2147480068"/>
        </pc:sldMkLst>
        <pc:graphicFrameChg chg="modGraphic">
          <ac:chgData name="Kaur, Amrita" userId="c9d21949-1db3-4d44-ad70-25eeb4a5ad11" providerId="ADAL" clId="{9A698DBC-7E87-4BD5-A154-776235AFF2B7}" dt="2026-01-07T16:50:06.788" v="74" actId="207"/>
          <ac:graphicFrameMkLst>
            <pc:docMk/>
            <pc:sldMk cId="3292769897" sldId="2147480068"/>
            <ac:graphicFrameMk id="4" creationId="{3C130BC0-D3A1-F863-37F3-49EF02A6E865}"/>
          </ac:graphicFrameMkLst>
        </pc:graphicFrameChg>
      </pc:sldChg>
      <pc:sldChg chg="modSp mod">
        <pc:chgData name="Kaur, Amrita" userId="c9d21949-1db3-4d44-ad70-25eeb4a5ad11" providerId="ADAL" clId="{9A698DBC-7E87-4BD5-A154-776235AFF2B7}" dt="2026-01-07T16:49:30.056" v="71" actId="207"/>
        <pc:sldMkLst>
          <pc:docMk/>
          <pc:sldMk cId="3942673932" sldId="2147480071"/>
        </pc:sldMkLst>
        <pc:graphicFrameChg chg="modGraphic">
          <ac:chgData name="Kaur, Amrita" userId="c9d21949-1db3-4d44-ad70-25eeb4a5ad11" providerId="ADAL" clId="{9A698DBC-7E87-4BD5-A154-776235AFF2B7}" dt="2026-01-07T16:49:30.056" v="71" actId="207"/>
          <ac:graphicFrameMkLst>
            <pc:docMk/>
            <pc:sldMk cId="3942673932" sldId="2147480071"/>
            <ac:graphicFrameMk id="5" creationId="{75233AAF-D590-876B-241E-DEF0873BDC39}"/>
          </ac:graphicFrameMkLst>
        </pc:graphicFrameChg>
      </pc:sldChg>
      <pc:sldChg chg="addSp delSp modSp add mod">
        <pc:chgData name="Kaur, Amrita" userId="c9d21949-1db3-4d44-ad70-25eeb4a5ad11" providerId="ADAL" clId="{9A698DBC-7E87-4BD5-A154-776235AFF2B7}" dt="2026-01-07T16:41:07.335" v="67" actId="20577"/>
        <pc:sldMkLst>
          <pc:docMk/>
          <pc:sldMk cId="2687988251" sldId="2147480075"/>
        </pc:sldMkLst>
        <pc:spChg chg="mod">
          <ac:chgData name="Kaur, Amrita" userId="c9d21949-1db3-4d44-ad70-25eeb4a5ad11" providerId="ADAL" clId="{9A698DBC-7E87-4BD5-A154-776235AFF2B7}" dt="2026-01-07T16:33:18.185" v="49" actId="1076"/>
          <ac:spMkLst>
            <pc:docMk/>
            <pc:sldMk cId="2687988251" sldId="2147480075"/>
            <ac:spMk id="2" creationId="{DDB5B2D4-DC48-81A2-2E28-E27DFA8976D3}"/>
          </ac:spMkLst>
        </pc:spChg>
        <pc:spChg chg="add mod">
          <ac:chgData name="Kaur, Amrita" userId="c9d21949-1db3-4d44-ad70-25eeb4a5ad11" providerId="ADAL" clId="{9A698DBC-7E87-4BD5-A154-776235AFF2B7}" dt="2026-01-07T16:41:07.335" v="67" actId="20577"/>
          <ac:spMkLst>
            <pc:docMk/>
            <pc:sldMk cId="2687988251" sldId="2147480075"/>
            <ac:spMk id="8" creationId="{568DCADE-3C12-2E0D-F420-1D2BFAC524AC}"/>
          </ac:spMkLst>
        </pc:spChg>
        <pc:spChg chg="mod">
          <ac:chgData name="Kaur, Amrita" userId="c9d21949-1db3-4d44-ad70-25eeb4a5ad11" providerId="ADAL" clId="{9A698DBC-7E87-4BD5-A154-776235AFF2B7}" dt="2026-01-07T16:33:18.185" v="49" actId="1076"/>
          <ac:spMkLst>
            <pc:docMk/>
            <pc:sldMk cId="2687988251" sldId="2147480075"/>
            <ac:spMk id="14" creationId="{89E1FA49-AC62-DE45-8A6C-3E8D9E3446DD}"/>
          </ac:spMkLst>
        </pc:spChg>
        <pc:spChg chg="mod">
          <ac:chgData name="Kaur, Amrita" userId="c9d21949-1db3-4d44-ad70-25eeb4a5ad11" providerId="ADAL" clId="{9A698DBC-7E87-4BD5-A154-776235AFF2B7}" dt="2026-01-07T16:33:18.185" v="49" actId="1076"/>
          <ac:spMkLst>
            <pc:docMk/>
            <pc:sldMk cId="2687988251" sldId="2147480075"/>
            <ac:spMk id="15" creationId="{C1322D31-930E-8C31-26F5-1C0C863C7873}"/>
          </ac:spMkLst>
        </pc:spChg>
        <pc:spChg chg="mod">
          <ac:chgData name="Kaur, Amrita" userId="c9d21949-1db3-4d44-ad70-25eeb4a5ad11" providerId="ADAL" clId="{9A698DBC-7E87-4BD5-A154-776235AFF2B7}" dt="2026-01-07T16:33:18.185" v="49" actId="1076"/>
          <ac:spMkLst>
            <pc:docMk/>
            <pc:sldMk cId="2687988251" sldId="2147480075"/>
            <ac:spMk id="17" creationId="{3BA0123C-C0BD-1FE4-CF29-415B8A809AE7}"/>
          </ac:spMkLst>
        </pc:spChg>
        <pc:spChg chg="mod">
          <ac:chgData name="Kaur, Amrita" userId="c9d21949-1db3-4d44-ad70-25eeb4a5ad11" providerId="ADAL" clId="{9A698DBC-7E87-4BD5-A154-776235AFF2B7}" dt="2026-01-07T16:33:18.185" v="49" actId="1076"/>
          <ac:spMkLst>
            <pc:docMk/>
            <pc:sldMk cId="2687988251" sldId="2147480075"/>
            <ac:spMk id="35" creationId="{36AC6248-8663-B6A7-E7B3-41D0327C612C}"/>
          </ac:spMkLst>
        </pc:spChg>
        <pc:spChg chg="mod">
          <ac:chgData name="Kaur, Amrita" userId="c9d21949-1db3-4d44-ad70-25eeb4a5ad11" providerId="ADAL" clId="{9A698DBC-7E87-4BD5-A154-776235AFF2B7}" dt="2026-01-07T16:33:18.185" v="49" actId="1076"/>
          <ac:spMkLst>
            <pc:docMk/>
            <pc:sldMk cId="2687988251" sldId="2147480075"/>
            <ac:spMk id="37" creationId="{FEA7935E-C5E3-37AC-DF09-B47D3A56281F}"/>
          </ac:spMkLst>
        </pc:spChg>
        <pc:grpChg chg="mod">
          <ac:chgData name="Kaur, Amrita" userId="c9d21949-1db3-4d44-ad70-25eeb4a5ad11" providerId="ADAL" clId="{9A698DBC-7E87-4BD5-A154-776235AFF2B7}" dt="2026-01-07T16:33:18.185" v="49" actId="1076"/>
          <ac:grpSpMkLst>
            <pc:docMk/>
            <pc:sldMk cId="2687988251" sldId="2147480075"/>
            <ac:grpSpMk id="11" creationId="{590D7B4A-2114-06DA-3350-F8A12B6EB838}"/>
          </ac:grpSpMkLst>
        </pc:grpChg>
        <pc:grpChg chg="mod">
          <ac:chgData name="Kaur, Amrita" userId="c9d21949-1db3-4d44-ad70-25eeb4a5ad11" providerId="ADAL" clId="{9A698DBC-7E87-4BD5-A154-776235AFF2B7}" dt="2026-01-07T16:33:18.185" v="49" actId="1076"/>
          <ac:grpSpMkLst>
            <pc:docMk/>
            <pc:sldMk cId="2687988251" sldId="2147480075"/>
            <ac:grpSpMk id="12" creationId="{1E0119D5-D464-07A7-70F0-4E544088B927}"/>
          </ac:grpSpMkLst>
        </pc:grpChg>
        <pc:grpChg chg="mod">
          <ac:chgData name="Kaur, Amrita" userId="c9d21949-1db3-4d44-ad70-25eeb4a5ad11" providerId="ADAL" clId="{9A698DBC-7E87-4BD5-A154-776235AFF2B7}" dt="2026-01-07T16:33:18.185" v="49" actId="1076"/>
          <ac:grpSpMkLst>
            <pc:docMk/>
            <pc:sldMk cId="2687988251" sldId="2147480075"/>
            <ac:grpSpMk id="25" creationId="{E4061075-69D1-5F67-761E-A9D177615F04}"/>
          </ac:grpSpMkLst>
        </pc:grpChg>
        <pc:picChg chg="add mod">
          <ac:chgData name="Kaur, Amrita" userId="c9d21949-1db3-4d44-ad70-25eeb4a5ad11" providerId="ADAL" clId="{9A698DBC-7E87-4BD5-A154-776235AFF2B7}" dt="2026-01-07T16:33:45.910" v="53" actId="1076"/>
          <ac:picMkLst>
            <pc:docMk/>
            <pc:sldMk cId="2687988251" sldId="2147480075"/>
            <ac:picMk id="9" creationId="{B36E5090-1D44-1FA5-415A-B0CAA5AFBAF3}"/>
          </ac:picMkLst>
        </pc:picChg>
      </pc:sldChg>
    </pc:docChg>
  </pc:docChgLst>
  <pc:docChgLst>
    <pc:chgData name="Tiwari, Rashika" userId="ffd7dc98-58d1-4b72-a1f4-65ee5bc1e797" providerId="ADAL" clId="{207F9F02-ABBA-4E99-84D7-FDDE411D60AC}"/>
    <pc:docChg chg="undo custSel addSld delSld modSld sldOrd">
      <pc:chgData name="Tiwari, Rashika" userId="ffd7dc98-58d1-4b72-a1f4-65ee5bc1e797" providerId="ADAL" clId="{207F9F02-ABBA-4E99-84D7-FDDE411D60AC}" dt="2026-01-09T07:27:08.108" v="881"/>
      <pc:docMkLst>
        <pc:docMk/>
      </pc:docMkLst>
      <pc:sldChg chg="addSp delSp modSp mod setBg">
        <pc:chgData name="Tiwari, Rashika" userId="ffd7dc98-58d1-4b72-a1f4-65ee5bc1e797" providerId="ADAL" clId="{207F9F02-ABBA-4E99-84D7-FDDE411D60AC}" dt="2026-01-08T05:55:19.589" v="747" actId="207"/>
        <pc:sldMkLst>
          <pc:docMk/>
          <pc:sldMk cId="1287715249" sldId="2144868146"/>
        </pc:sldMkLst>
        <pc:spChg chg="del">
          <ac:chgData name="Tiwari, Rashika" userId="ffd7dc98-58d1-4b72-a1f4-65ee5bc1e797" providerId="ADAL" clId="{207F9F02-ABBA-4E99-84D7-FDDE411D60AC}" dt="2026-01-08T05:03:39.682" v="153" actId="478"/>
          <ac:spMkLst>
            <pc:docMk/>
            <pc:sldMk cId="1287715249" sldId="2144868146"/>
            <ac:spMk id="2" creationId="{8DB2967A-06B4-F274-D5CC-699299EE7B7D}"/>
          </ac:spMkLst>
        </pc:spChg>
        <pc:spChg chg="del">
          <ac:chgData name="Tiwari, Rashika" userId="ffd7dc98-58d1-4b72-a1f4-65ee5bc1e797" providerId="ADAL" clId="{207F9F02-ABBA-4E99-84D7-FDDE411D60AC}" dt="2026-01-08T05:01:23.045" v="84" actId="478"/>
          <ac:spMkLst>
            <pc:docMk/>
            <pc:sldMk cId="1287715249" sldId="2144868146"/>
            <ac:spMk id="3" creationId="{05D9ADEE-F6FE-575F-678B-7C3C4E426036}"/>
          </ac:spMkLst>
        </pc:spChg>
        <pc:spChg chg="add mod">
          <ac:chgData name="Tiwari, Rashika" userId="ffd7dc98-58d1-4b72-a1f4-65ee5bc1e797" providerId="ADAL" clId="{207F9F02-ABBA-4E99-84D7-FDDE411D60AC}" dt="2026-01-08T05:55:07.283" v="745" actId="207"/>
          <ac:spMkLst>
            <pc:docMk/>
            <pc:sldMk cId="1287715249" sldId="2144868146"/>
            <ac:spMk id="4" creationId="{64664E69-5E78-6AD3-5904-AD79D0D239C2}"/>
          </ac:spMkLst>
        </pc:spChg>
        <pc:spChg chg="add del mod">
          <ac:chgData name="Tiwari, Rashika" userId="ffd7dc98-58d1-4b72-a1f4-65ee5bc1e797" providerId="ADAL" clId="{207F9F02-ABBA-4E99-84D7-FDDE411D60AC}" dt="2026-01-08T05:03:27.013" v="152" actId="478"/>
          <ac:spMkLst>
            <pc:docMk/>
            <pc:sldMk cId="1287715249" sldId="2144868146"/>
            <ac:spMk id="7" creationId="{881B284D-2413-2525-5875-7E00C77E0EEC}"/>
          </ac:spMkLst>
        </pc:spChg>
        <pc:spChg chg="add mod">
          <ac:chgData name="Tiwari, Rashika" userId="ffd7dc98-58d1-4b72-a1f4-65ee5bc1e797" providerId="ADAL" clId="{207F9F02-ABBA-4E99-84D7-FDDE411D60AC}" dt="2026-01-08T05:23:35.496" v="354" actId="12789"/>
          <ac:spMkLst>
            <pc:docMk/>
            <pc:sldMk cId="1287715249" sldId="2144868146"/>
            <ac:spMk id="8" creationId="{4E0EB239-78CA-654E-D4DD-6A0C2FFA9F5E}"/>
          </ac:spMkLst>
        </pc:spChg>
        <pc:spChg chg="mod">
          <ac:chgData name="Tiwari, Rashika" userId="ffd7dc98-58d1-4b72-a1f4-65ee5bc1e797" providerId="ADAL" clId="{207F9F02-ABBA-4E99-84D7-FDDE411D60AC}" dt="2026-01-08T05:23:29.367" v="353" actId="12789"/>
          <ac:spMkLst>
            <pc:docMk/>
            <pc:sldMk cId="1287715249" sldId="2144868146"/>
            <ac:spMk id="10" creationId="{23A96113-DC30-C174-C1F2-F96CAC75D83E}"/>
          </ac:spMkLst>
        </pc:spChg>
        <pc:spChg chg="mod">
          <ac:chgData name="Tiwari, Rashika" userId="ffd7dc98-58d1-4b72-a1f4-65ee5bc1e797" providerId="ADAL" clId="{207F9F02-ABBA-4E99-84D7-FDDE411D60AC}" dt="2026-01-08T05:27:27.154" v="416" actId="20577"/>
          <ac:spMkLst>
            <pc:docMk/>
            <pc:sldMk cId="1287715249" sldId="2144868146"/>
            <ac:spMk id="11" creationId="{765CE635-83D3-51FB-EC51-5BC3D9782A96}"/>
          </ac:spMkLst>
        </pc:spChg>
        <pc:spChg chg="mod">
          <ac:chgData name="Tiwari, Rashika" userId="ffd7dc98-58d1-4b72-a1f4-65ee5bc1e797" providerId="ADAL" clId="{207F9F02-ABBA-4E99-84D7-FDDE411D60AC}" dt="2026-01-08T05:55:02.270" v="743" actId="207"/>
          <ac:spMkLst>
            <pc:docMk/>
            <pc:sldMk cId="1287715249" sldId="2144868146"/>
            <ac:spMk id="12" creationId="{3D3D1827-7331-6ED2-576A-FFD5D01E2AA4}"/>
          </ac:spMkLst>
        </pc:spChg>
        <pc:spChg chg="mod">
          <ac:chgData name="Tiwari, Rashika" userId="ffd7dc98-58d1-4b72-a1f4-65ee5bc1e797" providerId="ADAL" clId="{207F9F02-ABBA-4E99-84D7-FDDE411D60AC}" dt="2026-01-08T05:55:19.589" v="747" actId="207"/>
          <ac:spMkLst>
            <pc:docMk/>
            <pc:sldMk cId="1287715249" sldId="2144868146"/>
            <ac:spMk id="13" creationId="{DC2604A8-0281-C821-0266-F2C26C7CB4D2}"/>
          </ac:spMkLst>
        </pc:spChg>
        <pc:spChg chg="del mod">
          <ac:chgData name="Tiwari, Rashika" userId="ffd7dc98-58d1-4b72-a1f4-65ee5bc1e797" providerId="ADAL" clId="{207F9F02-ABBA-4E99-84D7-FDDE411D60AC}" dt="2026-01-08T05:16:23.964" v="287" actId="478"/>
          <ac:spMkLst>
            <pc:docMk/>
            <pc:sldMk cId="1287715249" sldId="2144868146"/>
            <ac:spMk id="14" creationId="{80B5A43E-F8DE-2EA7-5074-5521EC8844CB}"/>
          </ac:spMkLst>
        </pc:spChg>
        <pc:spChg chg="del mod">
          <ac:chgData name="Tiwari, Rashika" userId="ffd7dc98-58d1-4b72-a1f4-65ee5bc1e797" providerId="ADAL" clId="{207F9F02-ABBA-4E99-84D7-FDDE411D60AC}" dt="2026-01-08T05:16:16.158" v="285" actId="478"/>
          <ac:spMkLst>
            <pc:docMk/>
            <pc:sldMk cId="1287715249" sldId="2144868146"/>
            <ac:spMk id="16" creationId="{39C047B8-2633-2863-0F8E-A794F8C064F3}"/>
          </ac:spMkLst>
        </pc:spChg>
        <pc:spChg chg="add del mod">
          <ac:chgData name="Tiwari, Rashika" userId="ffd7dc98-58d1-4b72-a1f4-65ee5bc1e797" providerId="ADAL" clId="{207F9F02-ABBA-4E99-84D7-FDDE411D60AC}" dt="2026-01-08T05:03:43.010" v="157" actId="478"/>
          <ac:spMkLst>
            <pc:docMk/>
            <pc:sldMk cId="1287715249" sldId="2144868146"/>
            <ac:spMk id="17" creationId="{FC132152-771B-5B8E-6B16-2678982DF4BA}"/>
          </ac:spMkLst>
        </pc:spChg>
        <pc:spChg chg="add mod">
          <ac:chgData name="Tiwari, Rashika" userId="ffd7dc98-58d1-4b72-a1f4-65ee5bc1e797" providerId="ADAL" clId="{207F9F02-ABBA-4E99-84D7-FDDE411D60AC}" dt="2026-01-08T05:03:49.832" v="160" actId="1076"/>
          <ac:spMkLst>
            <pc:docMk/>
            <pc:sldMk cId="1287715249" sldId="2144868146"/>
            <ac:spMk id="18" creationId="{EC8FF922-CA2F-D5EF-6810-84A6F66D5B94}"/>
          </ac:spMkLst>
        </pc:spChg>
        <pc:spChg chg="add mod">
          <ac:chgData name="Tiwari, Rashika" userId="ffd7dc98-58d1-4b72-a1f4-65ee5bc1e797" providerId="ADAL" clId="{207F9F02-ABBA-4E99-84D7-FDDE411D60AC}" dt="2026-01-08T05:55:10.183" v="746" actId="207"/>
          <ac:spMkLst>
            <pc:docMk/>
            <pc:sldMk cId="1287715249" sldId="2144868146"/>
            <ac:spMk id="20" creationId="{E74779B7-5846-651D-3F47-D4555E603F58}"/>
          </ac:spMkLst>
        </pc:spChg>
        <pc:spChg chg="add mod">
          <ac:chgData name="Tiwari, Rashika" userId="ffd7dc98-58d1-4b72-a1f4-65ee5bc1e797" providerId="ADAL" clId="{207F9F02-ABBA-4E99-84D7-FDDE411D60AC}" dt="2026-01-08T05:23:41.459" v="355" actId="12789"/>
          <ac:spMkLst>
            <pc:docMk/>
            <pc:sldMk cId="1287715249" sldId="2144868146"/>
            <ac:spMk id="21" creationId="{83AB7D8A-25F4-788F-143F-61F8B9681465}"/>
          </ac:spMkLst>
        </pc:spChg>
        <pc:graphicFrameChg chg="mod">
          <ac:chgData name="Tiwari, Rashika" userId="ffd7dc98-58d1-4b72-a1f4-65ee5bc1e797" providerId="ADAL" clId="{207F9F02-ABBA-4E99-84D7-FDDE411D60AC}" dt="2026-01-08T05:03:43.500" v="159"/>
          <ac:graphicFrameMkLst>
            <pc:docMk/>
            <pc:sldMk cId="1287715249" sldId="2144868146"/>
            <ac:graphicFrameMk id="5" creationId="{6DD60776-9BBE-0C60-45A3-A4060DBC0593}"/>
          </ac:graphicFrameMkLst>
        </pc:graphicFrameChg>
        <pc:picChg chg="add mod">
          <ac:chgData name="Tiwari, Rashika" userId="ffd7dc98-58d1-4b72-a1f4-65ee5bc1e797" providerId="ADAL" clId="{207F9F02-ABBA-4E99-84D7-FDDE411D60AC}" dt="2026-01-08T05:03:40.429" v="156"/>
          <ac:picMkLst>
            <pc:docMk/>
            <pc:sldMk cId="1287715249" sldId="2144868146"/>
            <ac:picMk id="19" creationId="{9409C4F2-728F-806E-2503-16AA50095E47}"/>
          </ac:picMkLst>
        </pc:picChg>
        <pc:cxnChg chg="del mod">
          <ac:chgData name="Tiwari, Rashika" userId="ffd7dc98-58d1-4b72-a1f4-65ee5bc1e797" providerId="ADAL" clId="{207F9F02-ABBA-4E99-84D7-FDDE411D60AC}" dt="2026-01-08T05:10:44.874" v="232" actId="478"/>
          <ac:cxnSpMkLst>
            <pc:docMk/>
            <pc:sldMk cId="1287715249" sldId="2144868146"/>
            <ac:cxnSpMk id="15" creationId="{A9AADCCC-4553-5C39-402D-CAC442DA3562}"/>
          </ac:cxnSpMkLst>
        </pc:cxnChg>
        <pc:cxnChg chg="add mod">
          <ac:chgData name="Tiwari, Rashika" userId="ffd7dc98-58d1-4b72-a1f4-65ee5bc1e797" providerId="ADAL" clId="{207F9F02-ABBA-4E99-84D7-FDDE411D60AC}" dt="2026-01-08T05:26:11.509" v="379" actId="14100"/>
          <ac:cxnSpMkLst>
            <pc:docMk/>
            <pc:sldMk cId="1287715249" sldId="2144868146"/>
            <ac:cxnSpMk id="23" creationId="{0CF22A2F-F8A1-0004-9A06-9075AFB5B7E2}"/>
          </ac:cxnSpMkLst>
        </pc:cxnChg>
        <pc:cxnChg chg="add mod">
          <ac:chgData name="Tiwari, Rashika" userId="ffd7dc98-58d1-4b72-a1f4-65ee5bc1e797" providerId="ADAL" clId="{207F9F02-ABBA-4E99-84D7-FDDE411D60AC}" dt="2026-01-08T05:25:52.644" v="378" actId="14100"/>
          <ac:cxnSpMkLst>
            <pc:docMk/>
            <pc:sldMk cId="1287715249" sldId="2144868146"/>
            <ac:cxnSpMk id="28" creationId="{66D29E97-4B5D-88A8-5EDC-FF021A476E9C}"/>
          </ac:cxnSpMkLst>
        </pc:cxnChg>
        <pc:cxnChg chg="add mod">
          <ac:chgData name="Tiwari, Rashika" userId="ffd7dc98-58d1-4b72-a1f4-65ee5bc1e797" providerId="ADAL" clId="{207F9F02-ABBA-4E99-84D7-FDDE411D60AC}" dt="2026-01-08T05:25:40.007" v="377" actId="14100"/>
          <ac:cxnSpMkLst>
            <pc:docMk/>
            <pc:sldMk cId="1287715249" sldId="2144868146"/>
            <ac:cxnSpMk id="29" creationId="{64D88039-DA53-ED8C-C0D8-CF8536C13702}"/>
          </ac:cxnSpMkLst>
        </pc:cxnChg>
      </pc:sldChg>
      <pc:sldChg chg="modSp mod ord modShow">
        <pc:chgData name="Tiwari, Rashika" userId="ffd7dc98-58d1-4b72-a1f4-65ee5bc1e797" providerId="ADAL" clId="{207F9F02-ABBA-4E99-84D7-FDDE411D60AC}" dt="2026-01-08T06:14:19.209" v="797"/>
        <pc:sldMkLst>
          <pc:docMk/>
          <pc:sldMk cId="1401710950" sldId="2147468809"/>
        </pc:sldMkLst>
        <pc:spChg chg="mod">
          <ac:chgData name="Tiwari, Rashika" userId="ffd7dc98-58d1-4b72-a1f4-65ee5bc1e797" providerId="ADAL" clId="{207F9F02-ABBA-4E99-84D7-FDDE411D60AC}" dt="2026-01-08T05:30:47.394" v="518"/>
          <ac:spMkLst>
            <pc:docMk/>
            <pc:sldMk cId="1401710950" sldId="2147468809"/>
            <ac:spMk id="8" creationId="{EB5E9633-3C1D-6003-F290-E9AC542C3281}"/>
          </ac:spMkLst>
        </pc:spChg>
        <pc:spChg chg="mod">
          <ac:chgData name="Tiwari, Rashika" userId="ffd7dc98-58d1-4b72-a1f4-65ee5bc1e797" providerId="ADAL" clId="{207F9F02-ABBA-4E99-84D7-FDDE411D60AC}" dt="2026-01-08T05:29:03.053" v="449" actId="20577"/>
          <ac:spMkLst>
            <pc:docMk/>
            <pc:sldMk cId="1401710950" sldId="2147468809"/>
            <ac:spMk id="10" creationId="{CE4B123E-B466-0C35-4532-59E89D55F71E}"/>
          </ac:spMkLst>
        </pc:spChg>
        <pc:spChg chg="mod">
          <ac:chgData name="Tiwari, Rashika" userId="ffd7dc98-58d1-4b72-a1f4-65ee5bc1e797" providerId="ADAL" clId="{207F9F02-ABBA-4E99-84D7-FDDE411D60AC}" dt="2026-01-08T05:29:28.263" v="464"/>
          <ac:spMkLst>
            <pc:docMk/>
            <pc:sldMk cId="1401710950" sldId="2147468809"/>
            <ac:spMk id="11" creationId="{720B5588-2D9E-4787-DA47-908C42E45FDE}"/>
          </ac:spMkLst>
        </pc:spChg>
        <pc:spChg chg="mod">
          <ac:chgData name="Tiwari, Rashika" userId="ffd7dc98-58d1-4b72-a1f4-65ee5bc1e797" providerId="ADAL" clId="{207F9F02-ABBA-4E99-84D7-FDDE411D60AC}" dt="2026-01-08T05:30:30.716" v="502"/>
          <ac:spMkLst>
            <pc:docMk/>
            <pc:sldMk cId="1401710950" sldId="2147468809"/>
            <ac:spMk id="12" creationId="{382B4E94-6797-B282-3C55-C4FE28DDAAEB}"/>
          </ac:spMkLst>
        </pc:spChg>
        <pc:spChg chg="mod">
          <ac:chgData name="Tiwari, Rashika" userId="ffd7dc98-58d1-4b72-a1f4-65ee5bc1e797" providerId="ADAL" clId="{207F9F02-ABBA-4E99-84D7-FDDE411D60AC}" dt="2026-01-08T05:28:43.400" v="442" actId="313"/>
          <ac:spMkLst>
            <pc:docMk/>
            <pc:sldMk cId="1401710950" sldId="2147468809"/>
            <ac:spMk id="15" creationId="{C4EFD58C-8E9B-73F0-CCF1-8EBBB202DDF0}"/>
          </ac:spMkLst>
        </pc:spChg>
        <pc:spChg chg="mod">
          <ac:chgData name="Tiwari, Rashika" userId="ffd7dc98-58d1-4b72-a1f4-65ee5bc1e797" providerId="ADAL" clId="{207F9F02-ABBA-4E99-84D7-FDDE411D60AC}" dt="2026-01-08T05:29:32.843" v="474" actId="20577"/>
          <ac:spMkLst>
            <pc:docMk/>
            <pc:sldMk cId="1401710950" sldId="2147468809"/>
            <ac:spMk id="16" creationId="{7BCB117E-642A-08B7-1C02-63482B2176C2}"/>
          </ac:spMkLst>
        </pc:spChg>
        <pc:spChg chg="mod">
          <ac:chgData name="Tiwari, Rashika" userId="ffd7dc98-58d1-4b72-a1f4-65ee5bc1e797" providerId="ADAL" clId="{207F9F02-ABBA-4E99-84D7-FDDE411D60AC}" dt="2026-01-08T05:29:53.486" v="492" actId="27636"/>
          <ac:spMkLst>
            <pc:docMk/>
            <pc:sldMk cId="1401710950" sldId="2147468809"/>
            <ac:spMk id="17" creationId="{A2D24EFF-137B-7CC3-F211-89B25F5E5E05}"/>
          </ac:spMkLst>
        </pc:spChg>
        <pc:spChg chg="mod">
          <ac:chgData name="Tiwari, Rashika" userId="ffd7dc98-58d1-4b72-a1f4-65ee5bc1e797" providerId="ADAL" clId="{207F9F02-ABBA-4E99-84D7-FDDE411D60AC}" dt="2026-01-08T05:30:36.129" v="517" actId="20577"/>
          <ac:spMkLst>
            <pc:docMk/>
            <pc:sldMk cId="1401710950" sldId="2147468809"/>
            <ac:spMk id="18" creationId="{30C296C0-6412-EFB0-053C-9A07B081C134}"/>
          </ac:spMkLst>
        </pc:spChg>
        <pc:spChg chg="mod">
          <ac:chgData name="Tiwari, Rashika" userId="ffd7dc98-58d1-4b72-a1f4-65ee5bc1e797" providerId="ADAL" clId="{207F9F02-ABBA-4E99-84D7-FDDE411D60AC}" dt="2026-01-08T05:30:53.877" v="533" actId="20577"/>
          <ac:spMkLst>
            <pc:docMk/>
            <pc:sldMk cId="1401710950" sldId="2147468809"/>
            <ac:spMk id="19" creationId="{859F8AA9-9B38-0A87-8FA1-908386147DF4}"/>
          </ac:spMkLst>
        </pc:spChg>
      </pc:sldChg>
      <pc:sldChg chg="modSp mod ord modShow">
        <pc:chgData name="Tiwari, Rashika" userId="ffd7dc98-58d1-4b72-a1f4-65ee5bc1e797" providerId="ADAL" clId="{207F9F02-ABBA-4E99-84D7-FDDE411D60AC}" dt="2026-01-08T06:14:19.209" v="797"/>
        <pc:sldMkLst>
          <pc:docMk/>
          <pc:sldMk cId="3546724841" sldId="2147468810"/>
        </pc:sldMkLst>
        <pc:graphicFrameChg chg="mod">
          <ac:chgData name="Tiwari, Rashika" userId="ffd7dc98-58d1-4b72-a1f4-65ee5bc1e797" providerId="ADAL" clId="{207F9F02-ABBA-4E99-84D7-FDDE411D60AC}" dt="2026-01-08T05:04:38.344" v="162"/>
          <ac:graphicFrameMkLst>
            <pc:docMk/>
            <pc:sldMk cId="3546724841" sldId="2147468810"/>
            <ac:graphicFrameMk id="24" creationId="{842E3928-200E-509A-5E3A-3BFEAEC9710A}"/>
          </ac:graphicFrameMkLst>
        </pc:graphicFrameChg>
      </pc:sldChg>
      <pc:sldChg chg="mod ord modShow">
        <pc:chgData name="Tiwari, Rashika" userId="ffd7dc98-58d1-4b72-a1f4-65ee5bc1e797" providerId="ADAL" clId="{207F9F02-ABBA-4E99-84D7-FDDE411D60AC}" dt="2026-01-08T06:24:55.026" v="830"/>
        <pc:sldMkLst>
          <pc:docMk/>
          <pc:sldMk cId="148952760" sldId="2147477999"/>
        </pc:sldMkLst>
      </pc:sldChg>
      <pc:sldChg chg="addSp delSp modSp mod">
        <pc:chgData name="Tiwari, Rashika" userId="ffd7dc98-58d1-4b72-a1f4-65ee5bc1e797" providerId="ADAL" clId="{207F9F02-ABBA-4E99-84D7-FDDE411D60AC}" dt="2026-01-08T06:25:28.222" v="838" actId="20577"/>
        <pc:sldMkLst>
          <pc:docMk/>
          <pc:sldMk cId="3743959140" sldId="2147480066"/>
        </pc:sldMkLst>
        <pc:spChg chg="del">
          <ac:chgData name="Tiwari, Rashika" userId="ffd7dc98-58d1-4b72-a1f4-65ee5bc1e797" providerId="ADAL" clId="{207F9F02-ABBA-4E99-84D7-FDDE411D60AC}" dt="2026-01-08T05:31:06.890" v="534" actId="478"/>
          <ac:spMkLst>
            <pc:docMk/>
            <pc:sldMk cId="3743959140" sldId="2147480066"/>
            <ac:spMk id="2" creationId="{E9088254-A858-E941-1A72-31894FA132B2}"/>
          </ac:spMkLst>
        </pc:spChg>
        <pc:spChg chg="add del mod">
          <ac:chgData name="Tiwari, Rashika" userId="ffd7dc98-58d1-4b72-a1f4-65ee5bc1e797" providerId="ADAL" clId="{207F9F02-ABBA-4E99-84D7-FDDE411D60AC}" dt="2026-01-08T05:32:18.441" v="541" actId="478"/>
          <ac:spMkLst>
            <pc:docMk/>
            <pc:sldMk cId="3743959140" sldId="2147480066"/>
            <ac:spMk id="6" creationId="{106F21C1-37E8-04C9-7ECD-65C4250CBFAF}"/>
          </ac:spMkLst>
        </pc:spChg>
        <pc:spChg chg="add mod">
          <ac:chgData name="Tiwari, Rashika" userId="ffd7dc98-58d1-4b72-a1f4-65ee5bc1e797" providerId="ADAL" clId="{207F9F02-ABBA-4E99-84D7-FDDE411D60AC}" dt="2026-01-08T05:31:16.092" v="535"/>
          <ac:spMkLst>
            <pc:docMk/>
            <pc:sldMk cId="3743959140" sldId="2147480066"/>
            <ac:spMk id="7" creationId="{7950D913-54FB-D3D6-3DF0-F0FA4F14AA17}"/>
          </ac:spMkLst>
        </pc:spChg>
        <pc:spChg chg="add mod">
          <ac:chgData name="Tiwari, Rashika" userId="ffd7dc98-58d1-4b72-a1f4-65ee5bc1e797" providerId="ADAL" clId="{207F9F02-ABBA-4E99-84D7-FDDE411D60AC}" dt="2026-01-08T05:36:27.414" v="674" actId="20577"/>
          <ac:spMkLst>
            <pc:docMk/>
            <pc:sldMk cId="3743959140" sldId="2147480066"/>
            <ac:spMk id="8" creationId="{92D81B6A-F180-FA58-A517-C80F5CC328FB}"/>
          </ac:spMkLst>
        </pc:spChg>
        <pc:spChg chg="add mod">
          <ac:chgData name="Tiwari, Rashika" userId="ffd7dc98-58d1-4b72-a1f4-65ee5bc1e797" providerId="ADAL" clId="{207F9F02-ABBA-4E99-84D7-FDDE411D60AC}" dt="2026-01-08T05:35:30.832" v="630" actId="20577"/>
          <ac:spMkLst>
            <pc:docMk/>
            <pc:sldMk cId="3743959140" sldId="2147480066"/>
            <ac:spMk id="9" creationId="{D2CAE156-D3ED-E586-85C8-26F7A4B63288}"/>
          </ac:spMkLst>
        </pc:spChg>
        <pc:spChg chg="add mod">
          <ac:chgData name="Tiwari, Rashika" userId="ffd7dc98-58d1-4b72-a1f4-65ee5bc1e797" providerId="ADAL" clId="{207F9F02-ABBA-4E99-84D7-FDDE411D60AC}" dt="2026-01-08T06:25:28.222" v="838" actId="20577"/>
          <ac:spMkLst>
            <pc:docMk/>
            <pc:sldMk cId="3743959140" sldId="2147480066"/>
            <ac:spMk id="10" creationId="{48960FED-665E-3B6E-F220-AF17DC8CAF69}"/>
          </ac:spMkLst>
        </pc:spChg>
        <pc:spChg chg="add mod">
          <ac:chgData name="Tiwari, Rashika" userId="ffd7dc98-58d1-4b72-a1f4-65ee5bc1e797" providerId="ADAL" clId="{207F9F02-ABBA-4E99-84D7-FDDE411D60AC}" dt="2026-01-08T05:33:48.671" v="558" actId="14100"/>
          <ac:spMkLst>
            <pc:docMk/>
            <pc:sldMk cId="3743959140" sldId="2147480066"/>
            <ac:spMk id="11" creationId="{CCA46E97-E82A-0749-5C31-A0FD9C06775E}"/>
          </ac:spMkLst>
        </pc:spChg>
        <pc:spChg chg="mod">
          <ac:chgData name="Tiwari, Rashika" userId="ffd7dc98-58d1-4b72-a1f4-65ee5bc1e797" providerId="ADAL" clId="{207F9F02-ABBA-4E99-84D7-FDDE411D60AC}" dt="2026-01-08T05:33:52.285" v="559" actId="14100"/>
          <ac:spMkLst>
            <pc:docMk/>
            <pc:sldMk cId="3743959140" sldId="2147480066"/>
            <ac:spMk id="13" creationId="{DA6A3493-00E7-BE58-3AF2-A1BA3A316CAC}"/>
          </ac:spMkLst>
        </pc:spChg>
        <pc:spChg chg="mod topLvl">
          <ac:chgData name="Tiwari, Rashika" userId="ffd7dc98-58d1-4b72-a1f4-65ee5bc1e797" providerId="ADAL" clId="{207F9F02-ABBA-4E99-84D7-FDDE411D60AC}" dt="2026-01-08T05:33:06.844" v="546" actId="1076"/>
          <ac:spMkLst>
            <pc:docMk/>
            <pc:sldMk cId="3743959140" sldId="2147480066"/>
            <ac:spMk id="16" creationId="{A3D0CB6A-59B0-FDE6-6A18-0275C0EC0208}"/>
          </ac:spMkLst>
        </pc:spChg>
        <pc:spChg chg="mod topLvl">
          <ac:chgData name="Tiwari, Rashika" userId="ffd7dc98-58d1-4b72-a1f4-65ee5bc1e797" providerId="ADAL" clId="{207F9F02-ABBA-4E99-84D7-FDDE411D60AC}" dt="2026-01-08T05:33:06.844" v="546" actId="1076"/>
          <ac:spMkLst>
            <pc:docMk/>
            <pc:sldMk cId="3743959140" sldId="2147480066"/>
            <ac:spMk id="17" creationId="{C9AF9425-57AE-B989-F7C1-423A41B43C27}"/>
          </ac:spMkLst>
        </pc:spChg>
        <pc:spChg chg="mod topLvl">
          <ac:chgData name="Tiwari, Rashika" userId="ffd7dc98-58d1-4b72-a1f4-65ee5bc1e797" providerId="ADAL" clId="{207F9F02-ABBA-4E99-84D7-FDDE411D60AC}" dt="2026-01-08T05:33:06.844" v="546" actId="1076"/>
          <ac:spMkLst>
            <pc:docMk/>
            <pc:sldMk cId="3743959140" sldId="2147480066"/>
            <ac:spMk id="18" creationId="{DD458970-F28D-B2CE-225B-9A91E557CB27}"/>
          </ac:spMkLst>
        </pc:spChg>
        <pc:spChg chg="mod topLvl">
          <ac:chgData name="Tiwari, Rashika" userId="ffd7dc98-58d1-4b72-a1f4-65ee5bc1e797" providerId="ADAL" clId="{207F9F02-ABBA-4E99-84D7-FDDE411D60AC}" dt="2026-01-08T05:33:06.844" v="546" actId="1076"/>
          <ac:spMkLst>
            <pc:docMk/>
            <pc:sldMk cId="3743959140" sldId="2147480066"/>
            <ac:spMk id="19" creationId="{2459EE93-B98C-314A-DD21-A384A5959679}"/>
          </ac:spMkLst>
        </pc:spChg>
        <pc:spChg chg="mod topLvl">
          <ac:chgData name="Tiwari, Rashika" userId="ffd7dc98-58d1-4b72-a1f4-65ee5bc1e797" providerId="ADAL" clId="{207F9F02-ABBA-4E99-84D7-FDDE411D60AC}" dt="2026-01-08T05:33:06.844" v="546" actId="1076"/>
          <ac:spMkLst>
            <pc:docMk/>
            <pc:sldMk cId="3743959140" sldId="2147480066"/>
            <ac:spMk id="20" creationId="{53FF7F1D-3C8D-F2C4-74A1-2A1B614F324E}"/>
          </ac:spMkLst>
        </pc:spChg>
        <pc:spChg chg="mod">
          <ac:chgData name="Tiwari, Rashika" userId="ffd7dc98-58d1-4b72-a1f4-65ee5bc1e797" providerId="ADAL" clId="{207F9F02-ABBA-4E99-84D7-FDDE411D60AC}" dt="2026-01-08T05:37:02.275" v="677" actId="27803"/>
          <ac:spMkLst>
            <pc:docMk/>
            <pc:sldMk cId="3743959140" sldId="2147480066"/>
            <ac:spMk id="26" creationId="{A25549D5-D15C-38CC-E06E-74469A027996}"/>
          </ac:spMkLst>
        </pc:spChg>
        <pc:spChg chg="mod">
          <ac:chgData name="Tiwari, Rashika" userId="ffd7dc98-58d1-4b72-a1f4-65ee5bc1e797" providerId="ADAL" clId="{207F9F02-ABBA-4E99-84D7-FDDE411D60AC}" dt="2026-01-08T05:37:02.275" v="677" actId="27803"/>
          <ac:spMkLst>
            <pc:docMk/>
            <pc:sldMk cId="3743959140" sldId="2147480066"/>
            <ac:spMk id="27" creationId="{056BDAF5-4D76-9DA1-D7FF-5207D7ABF067}"/>
          </ac:spMkLst>
        </pc:spChg>
        <pc:spChg chg="mod">
          <ac:chgData name="Tiwari, Rashika" userId="ffd7dc98-58d1-4b72-a1f4-65ee5bc1e797" providerId="ADAL" clId="{207F9F02-ABBA-4E99-84D7-FDDE411D60AC}" dt="2026-01-08T05:37:02.275" v="677" actId="27803"/>
          <ac:spMkLst>
            <pc:docMk/>
            <pc:sldMk cId="3743959140" sldId="2147480066"/>
            <ac:spMk id="28" creationId="{17549A56-0D12-75DA-3383-1E550B6C1E56}"/>
          </ac:spMkLst>
        </pc:spChg>
        <pc:grpChg chg="add del mod">
          <ac:chgData name="Tiwari, Rashika" userId="ffd7dc98-58d1-4b72-a1f4-65ee5bc1e797" providerId="ADAL" clId="{207F9F02-ABBA-4E99-84D7-FDDE411D60AC}" dt="2026-01-08T05:37:02.275" v="677" actId="27803"/>
          <ac:grpSpMkLst>
            <pc:docMk/>
            <pc:sldMk cId="3743959140" sldId="2147480066"/>
            <ac:grpSpMk id="25" creationId="{FFD49FFB-BF1B-DA67-4AED-372CBD61A35B}"/>
          </ac:grpSpMkLst>
        </pc:grpChg>
        <pc:picChg chg="mod topLvl">
          <ac:chgData name="Tiwari, Rashika" userId="ffd7dc98-58d1-4b72-a1f4-65ee5bc1e797" providerId="ADAL" clId="{207F9F02-ABBA-4E99-84D7-FDDE411D60AC}" dt="2026-01-08T05:31:50.820" v="537" actId="165"/>
          <ac:picMkLst>
            <pc:docMk/>
            <pc:sldMk cId="3743959140" sldId="2147480066"/>
            <ac:picMk id="15" creationId="{4BE9E51F-6AD8-7E44-3400-96F30EE032D3}"/>
          </ac:picMkLst>
        </pc:picChg>
        <pc:picChg chg="mod topLvl">
          <ac:chgData name="Tiwari, Rashika" userId="ffd7dc98-58d1-4b72-a1f4-65ee5bc1e797" providerId="ADAL" clId="{207F9F02-ABBA-4E99-84D7-FDDE411D60AC}" dt="2026-01-08T05:31:50.820" v="537" actId="165"/>
          <ac:picMkLst>
            <pc:docMk/>
            <pc:sldMk cId="3743959140" sldId="2147480066"/>
            <ac:picMk id="21" creationId="{7ADD7F92-7A3C-37EF-7442-918B68244037}"/>
          </ac:picMkLst>
        </pc:picChg>
        <pc:picChg chg="add del mod topLvl">
          <ac:chgData name="Tiwari, Rashika" userId="ffd7dc98-58d1-4b72-a1f4-65ee5bc1e797" providerId="ADAL" clId="{207F9F02-ABBA-4E99-84D7-FDDE411D60AC}" dt="2026-01-08T05:37:43.847" v="678" actId="14826"/>
          <ac:picMkLst>
            <pc:docMk/>
            <pc:sldMk cId="3743959140" sldId="2147480066"/>
            <ac:picMk id="22" creationId="{D8D1C66B-0D3B-60F9-4D5F-470432733E44}"/>
          </ac:picMkLst>
        </pc:picChg>
        <pc:picChg chg="mod topLvl">
          <ac:chgData name="Tiwari, Rashika" userId="ffd7dc98-58d1-4b72-a1f4-65ee5bc1e797" providerId="ADAL" clId="{207F9F02-ABBA-4E99-84D7-FDDE411D60AC}" dt="2026-01-08T05:36:54.549" v="675" actId="14826"/>
          <ac:picMkLst>
            <pc:docMk/>
            <pc:sldMk cId="3743959140" sldId="2147480066"/>
            <ac:picMk id="23" creationId="{DD860B90-86AF-B136-FA79-877D846771B0}"/>
          </ac:picMkLst>
        </pc:picChg>
        <pc:picChg chg="mod topLvl">
          <ac:chgData name="Tiwari, Rashika" userId="ffd7dc98-58d1-4b72-a1f4-65ee5bc1e797" providerId="ADAL" clId="{207F9F02-ABBA-4E99-84D7-FDDE411D60AC}" dt="2026-01-08T05:32:01.459" v="539" actId="1076"/>
          <ac:picMkLst>
            <pc:docMk/>
            <pc:sldMk cId="3743959140" sldId="2147480066"/>
            <ac:picMk id="24" creationId="{DD4C49C4-49FB-5601-AB61-D7909B46CDF2}"/>
          </ac:picMkLst>
        </pc:picChg>
      </pc:sldChg>
      <pc:sldChg chg="del">
        <pc:chgData name="Tiwari, Rashika" userId="ffd7dc98-58d1-4b72-a1f4-65ee5bc1e797" providerId="ADAL" clId="{207F9F02-ABBA-4E99-84D7-FDDE411D60AC}" dt="2026-01-08T05:43:22.986" v="738" actId="47"/>
        <pc:sldMkLst>
          <pc:docMk/>
          <pc:sldMk cId="244786233" sldId="2147480067"/>
        </pc:sldMkLst>
      </pc:sldChg>
      <pc:sldChg chg="modSp mod ord">
        <pc:chgData name="Tiwari, Rashika" userId="ffd7dc98-58d1-4b72-a1f4-65ee5bc1e797" providerId="ADAL" clId="{207F9F02-ABBA-4E99-84D7-FDDE411D60AC}" dt="2026-01-09T07:27:08.108" v="881"/>
        <pc:sldMkLst>
          <pc:docMk/>
          <pc:sldMk cId="3292769897" sldId="2147480068"/>
        </pc:sldMkLst>
        <pc:graphicFrameChg chg="mod modGraphic">
          <ac:chgData name="Tiwari, Rashika" userId="ffd7dc98-58d1-4b72-a1f4-65ee5bc1e797" providerId="ADAL" clId="{207F9F02-ABBA-4E99-84D7-FDDE411D60AC}" dt="2026-01-09T07:27:08.108" v="881"/>
          <ac:graphicFrameMkLst>
            <pc:docMk/>
            <pc:sldMk cId="3292769897" sldId="2147480068"/>
            <ac:graphicFrameMk id="4" creationId="{3C130BC0-D3A1-F863-37F3-49EF02A6E865}"/>
          </ac:graphicFrameMkLst>
        </pc:graphicFrameChg>
      </pc:sldChg>
      <pc:sldChg chg="addSp delSp modSp mod">
        <pc:chgData name="Tiwari, Rashika" userId="ffd7dc98-58d1-4b72-a1f4-65ee5bc1e797" providerId="ADAL" clId="{207F9F02-ABBA-4E99-84D7-FDDE411D60AC}" dt="2026-01-08T06:06:19.332" v="795" actId="6549"/>
        <pc:sldMkLst>
          <pc:docMk/>
          <pc:sldMk cId="2466094938" sldId="2147480069"/>
        </pc:sldMkLst>
        <pc:spChg chg="mod ord">
          <ac:chgData name="Tiwari, Rashika" userId="ffd7dc98-58d1-4b72-a1f4-65ee5bc1e797" providerId="ADAL" clId="{207F9F02-ABBA-4E99-84D7-FDDE411D60AC}" dt="2026-01-08T06:06:10.712" v="775"/>
          <ac:spMkLst>
            <pc:docMk/>
            <pc:sldMk cId="2466094938" sldId="2147480069"/>
            <ac:spMk id="3" creationId="{17E048E6-94FB-6CBB-D580-947997E10D34}"/>
          </ac:spMkLst>
        </pc:spChg>
        <pc:spChg chg="mod">
          <ac:chgData name="Tiwari, Rashika" userId="ffd7dc98-58d1-4b72-a1f4-65ee5bc1e797" providerId="ADAL" clId="{207F9F02-ABBA-4E99-84D7-FDDE411D60AC}" dt="2026-01-08T06:06:19.332" v="795" actId="6549"/>
          <ac:spMkLst>
            <pc:docMk/>
            <pc:sldMk cId="2466094938" sldId="2147480069"/>
            <ac:spMk id="6" creationId="{FEFE7A1E-3CEC-8917-AD0D-5766AAE74632}"/>
          </ac:spMkLst>
        </pc:spChg>
        <pc:spChg chg="mod ord">
          <ac:chgData name="Tiwari, Rashika" userId="ffd7dc98-58d1-4b72-a1f4-65ee5bc1e797" providerId="ADAL" clId="{207F9F02-ABBA-4E99-84D7-FDDE411D60AC}" dt="2026-01-08T06:06:10.710" v="773"/>
          <ac:spMkLst>
            <pc:docMk/>
            <pc:sldMk cId="2466094938" sldId="2147480069"/>
            <ac:spMk id="13" creationId="{47D96C86-6762-02ED-3594-882EF2C8E248}"/>
          </ac:spMkLst>
        </pc:spChg>
        <pc:spChg chg="mod ord">
          <ac:chgData name="Tiwari, Rashika" userId="ffd7dc98-58d1-4b72-a1f4-65ee5bc1e797" providerId="ADAL" clId="{207F9F02-ABBA-4E99-84D7-FDDE411D60AC}" dt="2026-01-08T06:06:10.708" v="771"/>
          <ac:spMkLst>
            <pc:docMk/>
            <pc:sldMk cId="2466094938" sldId="2147480069"/>
            <ac:spMk id="16" creationId="{4E60299D-F46A-00CF-266D-09BBBFCDD2E5}"/>
          </ac:spMkLst>
        </pc:spChg>
        <pc:spChg chg="mod ord">
          <ac:chgData name="Tiwari, Rashika" userId="ffd7dc98-58d1-4b72-a1f4-65ee5bc1e797" providerId="ADAL" clId="{207F9F02-ABBA-4E99-84D7-FDDE411D60AC}" dt="2026-01-08T06:06:10.718" v="780"/>
          <ac:spMkLst>
            <pc:docMk/>
            <pc:sldMk cId="2466094938" sldId="2147480069"/>
            <ac:spMk id="18" creationId="{F6F64371-0DAD-54AE-A40A-AC3BA7ECE0CB}"/>
          </ac:spMkLst>
        </pc:spChg>
        <pc:spChg chg="mod ord">
          <ac:chgData name="Tiwari, Rashika" userId="ffd7dc98-58d1-4b72-a1f4-65ee5bc1e797" providerId="ADAL" clId="{207F9F02-ABBA-4E99-84D7-FDDE411D60AC}" dt="2026-01-08T06:06:10.719" v="782"/>
          <ac:spMkLst>
            <pc:docMk/>
            <pc:sldMk cId="2466094938" sldId="2147480069"/>
            <ac:spMk id="22" creationId="{E207B1CE-4EB8-01E7-4992-B48F264A9D3A}"/>
          </ac:spMkLst>
        </pc:spChg>
        <pc:spChg chg="mod ord">
          <ac:chgData name="Tiwari, Rashika" userId="ffd7dc98-58d1-4b72-a1f4-65ee5bc1e797" providerId="ADAL" clId="{207F9F02-ABBA-4E99-84D7-FDDE411D60AC}" dt="2026-01-08T06:06:10.720" v="784"/>
          <ac:spMkLst>
            <pc:docMk/>
            <pc:sldMk cId="2466094938" sldId="2147480069"/>
            <ac:spMk id="23" creationId="{71154BC5-0501-6FCF-7B8D-00BF8FC6F672}"/>
          </ac:spMkLst>
        </pc:spChg>
        <pc:spChg chg="mod ord">
          <ac:chgData name="Tiwari, Rashika" userId="ffd7dc98-58d1-4b72-a1f4-65ee5bc1e797" providerId="ADAL" clId="{207F9F02-ABBA-4E99-84D7-FDDE411D60AC}" dt="2026-01-08T06:06:10.722" v="786"/>
          <ac:spMkLst>
            <pc:docMk/>
            <pc:sldMk cId="2466094938" sldId="2147480069"/>
            <ac:spMk id="26" creationId="{9E084591-9C9A-7314-9ED8-C3D4844F1CCF}"/>
          </ac:spMkLst>
        </pc:spChg>
        <pc:spChg chg="add mod ord">
          <ac:chgData name="Tiwari, Rashika" userId="ffd7dc98-58d1-4b72-a1f4-65ee5bc1e797" providerId="ADAL" clId="{207F9F02-ABBA-4E99-84D7-FDDE411D60AC}" dt="2026-01-08T06:06:10.724" v="788"/>
          <ac:spMkLst>
            <pc:docMk/>
            <pc:sldMk cId="2466094938" sldId="2147480069"/>
            <ac:spMk id="30" creationId="{4B0462DE-A9E3-9A81-7F7D-192788B00720}"/>
          </ac:spMkLst>
        </pc:spChg>
        <pc:grpChg chg="mod ord">
          <ac:chgData name="Tiwari, Rashika" userId="ffd7dc98-58d1-4b72-a1f4-65ee5bc1e797" providerId="ADAL" clId="{207F9F02-ABBA-4E99-84D7-FDDE411D60AC}" dt="2026-01-08T06:06:10.725" v="792"/>
          <ac:grpSpMkLst>
            <pc:docMk/>
            <pc:sldMk cId="2466094938" sldId="2147480069"/>
            <ac:grpSpMk id="2" creationId="{FD65266C-A4DD-0638-DD2D-804CFBFDC549}"/>
          </ac:grpSpMkLst>
        </pc:grpChg>
        <pc:grpChg chg="mod ord">
          <ac:chgData name="Tiwari, Rashika" userId="ffd7dc98-58d1-4b72-a1f4-65ee5bc1e797" providerId="ADAL" clId="{207F9F02-ABBA-4E99-84D7-FDDE411D60AC}" dt="2026-01-08T06:06:10.716" v="778"/>
          <ac:grpSpMkLst>
            <pc:docMk/>
            <pc:sldMk cId="2466094938" sldId="2147480069"/>
            <ac:grpSpMk id="8" creationId="{45C5FE10-CD62-7694-E7A3-72B1713FAA27}"/>
          </ac:grpSpMkLst>
        </pc:grpChg>
        <pc:grpChg chg="mod ord">
          <ac:chgData name="Tiwari, Rashika" userId="ffd7dc98-58d1-4b72-a1f4-65ee5bc1e797" providerId="ADAL" clId="{207F9F02-ABBA-4E99-84D7-FDDE411D60AC}" dt="2026-01-08T06:06:10.705" v="769"/>
          <ac:grpSpMkLst>
            <pc:docMk/>
            <pc:sldMk cId="2466094938" sldId="2147480069"/>
            <ac:grpSpMk id="19" creationId="{1AD8666A-07AF-CC4B-DB6D-FBD788C116A8}"/>
          </ac:grpSpMkLst>
        </pc:grpChg>
        <pc:graphicFrameChg chg="mod">
          <ac:chgData name="Tiwari, Rashika" userId="ffd7dc98-58d1-4b72-a1f4-65ee5bc1e797" providerId="ADAL" clId="{207F9F02-ABBA-4E99-84D7-FDDE411D60AC}" dt="2026-01-08T06:06:10.727" v="794"/>
          <ac:graphicFrameMkLst>
            <pc:docMk/>
            <pc:sldMk cId="2466094938" sldId="2147480069"/>
            <ac:graphicFrameMk id="7" creationId="{01BB7801-BFE3-3978-2C60-470FD9BFC8CD}"/>
          </ac:graphicFrameMkLst>
        </pc:graphicFrameChg>
        <pc:graphicFrameChg chg="add del mod">
          <ac:chgData name="Tiwari, Rashika" userId="ffd7dc98-58d1-4b72-a1f4-65ee5bc1e797" providerId="ADAL" clId="{207F9F02-ABBA-4E99-84D7-FDDE411D60AC}" dt="2026-01-08T05:41:11.412" v="712" actId="21"/>
          <ac:graphicFrameMkLst>
            <pc:docMk/>
            <pc:sldMk cId="2466094938" sldId="2147480069"/>
            <ac:graphicFrameMk id="29" creationId="{D27BCE4C-0EBD-8A20-356A-32FC4B5D2FF2}"/>
          </ac:graphicFrameMkLst>
        </pc:graphicFrameChg>
        <pc:graphicFrameChg chg="del mod modGraphic">
          <ac:chgData name="Tiwari, Rashika" userId="ffd7dc98-58d1-4b72-a1f4-65ee5bc1e797" providerId="ADAL" clId="{207F9F02-ABBA-4E99-84D7-FDDE411D60AC}" dt="2026-01-08T05:40:57.322" v="708" actId="478"/>
          <ac:graphicFrameMkLst>
            <pc:docMk/>
            <pc:sldMk cId="2466094938" sldId="2147480069"/>
            <ac:graphicFrameMk id="36" creationId="{C6ED1DF6-DF05-DCB2-C674-BF35A1D7CB39}"/>
          </ac:graphicFrameMkLst>
        </pc:graphicFrameChg>
        <pc:picChg chg="mod">
          <ac:chgData name="Tiwari, Rashika" userId="ffd7dc98-58d1-4b72-a1f4-65ee5bc1e797" providerId="ADAL" clId="{207F9F02-ABBA-4E99-84D7-FDDE411D60AC}" dt="2026-01-08T06:06:10.713" v="776"/>
          <ac:picMkLst>
            <pc:docMk/>
            <pc:sldMk cId="2466094938" sldId="2147480069"/>
            <ac:picMk id="4" creationId="{27177679-6A72-EA0D-5913-E776C28D4835}"/>
          </ac:picMkLst>
        </pc:picChg>
        <pc:picChg chg="add mod ord">
          <ac:chgData name="Tiwari, Rashika" userId="ffd7dc98-58d1-4b72-a1f4-65ee5bc1e797" providerId="ADAL" clId="{207F9F02-ABBA-4E99-84D7-FDDE411D60AC}" dt="2026-01-08T06:06:10.724" v="790"/>
          <ac:picMkLst>
            <pc:docMk/>
            <pc:sldMk cId="2466094938" sldId="2147480069"/>
            <ac:picMk id="37" creationId="{5FE4AC32-84D8-48CF-DEED-2B9076992C65}"/>
          </ac:picMkLst>
        </pc:picChg>
      </pc:sldChg>
      <pc:sldChg chg="addSp delSp modSp mod">
        <pc:chgData name="Tiwari, Rashika" userId="ffd7dc98-58d1-4b72-a1f4-65ee5bc1e797" providerId="ADAL" clId="{207F9F02-ABBA-4E99-84D7-FDDE411D60AC}" dt="2026-01-09T07:25:20.329" v="870" actId="20577"/>
        <pc:sldMkLst>
          <pc:docMk/>
          <pc:sldMk cId="3428488332" sldId="2147480070"/>
        </pc:sldMkLst>
        <pc:spChg chg="mod">
          <ac:chgData name="Tiwari, Rashika" userId="ffd7dc98-58d1-4b72-a1f4-65ee5bc1e797" providerId="ADAL" clId="{207F9F02-ABBA-4E99-84D7-FDDE411D60AC}" dt="2026-01-08T05:43:16.236" v="737" actId="1076"/>
          <ac:spMkLst>
            <pc:docMk/>
            <pc:sldMk cId="3428488332" sldId="2147480070"/>
            <ac:spMk id="13" creationId="{588F0C92-A2ED-6E5D-3882-571ACB64A5F3}"/>
          </ac:spMkLst>
        </pc:spChg>
        <pc:spChg chg="add mod">
          <ac:chgData name="Tiwari, Rashika" userId="ffd7dc98-58d1-4b72-a1f4-65ee5bc1e797" providerId="ADAL" clId="{207F9F02-ABBA-4E99-84D7-FDDE411D60AC}" dt="2026-01-09T07:25:20.329" v="870" actId="20577"/>
          <ac:spMkLst>
            <pc:docMk/>
            <pc:sldMk cId="3428488332" sldId="2147480070"/>
            <ac:spMk id="14" creationId="{E0324790-D1C8-E6F9-E431-1458DE59AB95}"/>
          </ac:spMkLst>
        </pc:spChg>
        <pc:spChg chg="mod">
          <ac:chgData name="Tiwari, Rashika" userId="ffd7dc98-58d1-4b72-a1f4-65ee5bc1e797" providerId="ADAL" clId="{207F9F02-ABBA-4E99-84D7-FDDE411D60AC}" dt="2026-01-08T05:43:16.236" v="737" actId="1076"/>
          <ac:spMkLst>
            <pc:docMk/>
            <pc:sldMk cId="3428488332" sldId="2147480070"/>
            <ac:spMk id="16" creationId="{5309F765-2A88-B703-31A9-AD2656467A84}"/>
          </ac:spMkLst>
        </pc:spChg>
        <pc:spChg chg="mod">
          <ac:chgData name="Tiwari, Rashika" userId="ffd7dc98-58d1-4b72-a1f4-65ee5bc1e797" providerId="ADAL" clId="{207F9F02-ABBA-4E99-84D7-FDDE411D60AC}" dt="2026-01-08T06:03:28.810" v="760" actId="14100"/>
          <ac:spMkLst>
            <pc:docMk/>
            <pc:sldMk cId="3428488332" sldId="2147480070"/>
            <ac:spMk id="18" creationId="{E930BD9D-425C-C4CF-9575-5BD244810035}"/>
          </ac:spMkLst>
        </pc:spChg>
        <pc:spChg chg="mod">
          <ac:chgData name="Tiwari, Rashika" userId="ffd7dc98-58d1-4b72-a1f4-65ee5bc1e797" providerId="ADAL" clId="{207F9F02-ABBA-4E99-84D7-FDDE411D60AC}" dt="2026-01-08T05:43:16.236" v="737" actId="1076"/>
          <ac:spMkLst>
            <pc:docMk/>
            <pc:sldMk cId="3428488332" sldId="2147480070"/>
            <ac:spMk id="22" creationId="{6EB47FC8-8775-0CE0-F4E9-719BBCC64FB0}"/>
          </ac:spMkLst>
        </pc:spChg>
        <pc:spChg chg="mod">
          <ac:chgData name="Tiwari, Rashika" userId="ffd7dc98-58d1-4b72-a1f4-65ee5bc1e797" providerId="ADAL" clId="{207F9F02-ABBA-4E99-84D7-FDDE411D60AC}" dt="2026-01-08T05:43:16.236" v="737" actId="1076"/>
          <ac:spMkLst>
            <pc:docMk/>
            <pc:sldMk cId="3428488332" sldId="2147480070"/>
            <ac:spMk id="23" creationId="{76927E1C-632A-2B46-A442-8426F409F5EA}"/>
          </ac:spMkLst>
        </pc:spChg>
        <pc:spChg chg="mod">
          <ac:chgData name="Tiwari, Rashika" userId="ffd7dc98-58d1-4b72-a1f4-65ee5bc1e797" providerId="ADAL" clId="{207F9F02-ABBA-4E99-84D7-FDDE411D60AC}" dt="2026-01-08T06:03:02.881" v="755" actId="1076"/>
          <ac:spMkLst>
            <pc:docMk/>
            <pc:sldMk cId="3428488332" sldId="2147480070"/>
            <ac:spMk id="26" creationId="{63709D6D-5A69-1314-A46F-527679D8AA5A}"/>
          </ac:spMkLst>
        </pc:spChg>
        <pc:grpChg chg="mod">
          <ac:chgData name="Tiwari, Rashika" userId="ffd7dc98-58d1-4b72-a1f4-65ee5bc1e797" providerId="ADAL" clId="{207F9F02-ABBA-4E99-84D7-FDDE411D60AC}" dt="2026-01-08T05:43:16.236" v="737" actId="1076"/>
          <ac:grpSpMkLst>
            <pc:docMk/>
            <pc:sldMk cId="3428488332" sldId="2147480070"/>
            <ac:grpSpMk id="2" creationId="{156345BA-80C8-0043-89B6-36E497854710}"/>
          </ac:grpSpMkLst>
        </pc:grpChg>
        <pc:grpChg chg="mod">
          <ac:chgData name="Tiwari, Rashika" userId="ffd7dc98-58d1-4b72-a1f4-65ee5bc1e797" providerId="ADAL" clId="{207F9F02-ABBA-4E99-84D7-FDDE411D60AC}" dt="2026-01-08T06:03:11.541" v="757" actId="1076"/>
          <ac:grpSpMkLst>
            <pc:docMk/>
            <pc:sldMk cId="3428488332" sldId="2147480070"/>
            <ac:grpSpMk id="8" creationId="{AB4A43AA-8FA7-BAA4-DA32-09FF5D326A10}"/>
          </ac:grpSpMkLst>
        </pc:grpChg>
        <pc:grpChg chg="mod">
          <ac:chgData name="Tiwari, Rashika" userId="ffd7dc98-58d1-4b72-a1f4-65ee5bc1e797" providerId="ADAL" clId="{207F9F02-ABBA-4E99-84D7-FDDE411D60AC}" dt="2026-01-08T05:43:16.236" v="737" actId="1076"/>
          <ac:grpSpMkLst>
            <pc:docMk/>
            <pc:sldMk cId="3428488332" sldId="2147480070"/>
            <ac:grpSpMk id="19" creationId="{8B3F002C-342B-9C8D-7CF5-498CD19DB27C}"/>
          </ac:grpSpMkLst>
        </pc:grpChg>
        <pc:graphicFrameChg chg="add del modGraphic">
          <ac:chgData name="Tiwari, Rashika" userId="ffd7dc98-58d1-4b72-a1f4-65ee5bc1e797" providerId="ADAL" clId="{207F9F02-ABBA-4E99-84D7-FDDE411D60AC}" dt="2026-01-08T05:42:38.364" v="731" actId="478"/>
          <ac:graphicFrameMkLst>
            <pc:docMk/>
            <pc:sldMk cId="3428488332" sldId="2147480070"/>
            <ac:graphicFrameMk id="12" creationId="{4DA4E2AB-FCCF-89D8-8511-126C2D64CF48}"/>
          </ac:graphicFrameMkLst>
        </pc:graphicFrameChg>
        <pc:graphicFrameChg chg="del modGraphic">
          <ac:chgData name="Tiwari, Rashika" userId="ffd7dc98-58d1-4b72-a1f4-65ee5bc1e797" providerId="ADAL" clId="{207F9F02-ABBA-4E99-84D7-FDDE411D60AC}" dt="2026-01-08T05:42:19.114" v="726" actId="478"/>
          <ac:graphicFrameMkLst>
            <pc:docMk/>
            <pc:sldMk cId="3428488332" sldId="2147480070"/>
            <ac:graphicFrameMk id="36" creationId="{0875E1CE-D5F6-C0E8-F26F-A5237BECE655}"/>
          </ac:graphicFrameMkLst>
        </pc:graphicFrameChg>
        <pc:picChg chg="add mod">
          <ac:chgData name="Tiwari, Rashika" userId="ffd7dc98-58d1-4b72-a1f4-65ee5bc1e797" providerId="ADAL" clId="{207F9F02-ABBA-4E99-84D7-FDDE411D60AC}" dt="2026-01-08T06:05:31.852" v="762" actId="14100"/>
          <ac:picMkLst>
            <pc:docMk/>
            <pc:sldMk cId="3428488332" sldId="2147480070"/>
            <ac:picMk id="15" creationId="{D69C462D-0904-E129-1ABC-3D6CA57A0BEF}"/>
          </ac:picMkLst>
        </pc:picChg>
      </pc:sldChg>
      <pc:sldChg chg="modSp mod">
        <pc:chgData name="Tiwari, Rashika" userId="ffd7dc98-58d1-4b72-a1f4-65ee5bc1e797" providerId="ADAL" clId="{207F9F02-ABBA-4E99-84D7-FDDE411D60AC}" dt="2026-01-09T07:24:53.236" v="867" actId="255"/>
        <pc:sldMkLst>
          <pc:docMk/>
          <pc:sldMk cId="3942673932" sldId="2147480071"/>
        </pc:sldMkLst>
        <pc:graphicFrameChg chg="mod modGraphic">
          <ac:chgData name="Tiwari, Rashika" userId="ffd7dc98-58d1-4b72-a1f4-65ee5bc1e797" providerId="ADAL" clId="{207F9F02-ABBA-4E99-84D7-FDDE411D60AC}" dt="2026-01-09T07:24:53.236" v="867" actId="255"/>
          <ac:graphicFrameMkLst>
            <pc:docMk/>
            <pc:sldMk cId="3942673932" sldId="2147480071"/>
            <ac:graphicFrameMk id="5" creationId="{75233AAF-D590-876B-241E-DEF0873BDC39}"/>
          </ac:graphicFrameMkLst>
        </pc:graphicFrameChg>
      </pc:sldChg>
      <pc:sldChg chg="mod ord modShow">
        <pc:chgData name="Tiwari, Rashika" userId="ffd7dc98-58d1-4b72-a1f4-65ee5bc1e797" providerId="ADAL" clId="{207F9F02-ABBA-4E99-84D7-FDDE411D60AC}" dt="2026-01-08T06:14:19.209" v="797"/>
        <pc:sldMkLst>
          <pc:docMk/>
          <pc:sldMk cId="3158156087" sldId="2147480074"/>
        </pc:sldMkLst>
      </pc:sldChg>
      <pc:sldChg chg="modSp mod">
        <pc:chgData name="Tiwari, Rashika" userId="ffd7dc98-58d1-4b72-a1f4-65ee5bc1e797" providerId="ADAL" clId="{207F9F02-ABBA-4E99-84D7-FDDE411D60AC}" dt="2026-01-09T07:25:32.524" v="872" actId="20577"/>
        <pc:sldMkLst>
          <pc:docMk/>
          <pc:sldMk cId="2687988251" sldId="2147480075"/>
        </pc:sldMkLst>
        <pc:spChg chg="mod">
          <ac:chgData name="Tiwari, Rashika" userId="ffd7dc98-58d1-4b72-a1f4-65ee5bc1e797" providerId="ADAL" clId="{207F9F02-ABBA-4E99-84D7-FDDE411D60AC}" dt="2026-01-09T07:25:32.524" v="872" actId="20577"/>
          <ac:spMkLst>
            <pc:docMk/>
            <pc:sldMk cId="2687988251" sldId="2147480075"/>
            <ac:spMk id="8" creationId="{568DCADE-3C12-2E0D-F420-1D2BFAC524AC}"/>
          </ac:spMkLst>
        </pc:spChg>
        <pc:picChg chg="mod modCrop">
          <ac:chgData name="Tiwari, Rashika" userId="ffd7dc98-58d1-4b72-a1f4-65ee5bc1e797" providerId="ADAL" clId="{207F9F02-ABBA-4E99-84D7-FDDE411D60AC}" dt="2026-01-08T06:38:27.095" v="842" actId="18131"/>
          <ac:picMkLst>
            <pc:docMk/>
            <pc:sldMk cId="2687988251" sldId="2147480075"/>
            <ac:picMk id="9" creationId="{B36E5090-1D44-1FA5-415A-B0CAA5AFBAF3}"/>
          </ac:picMkLst>
        </pc:picChg>
      </pc:sldChg>
      <pc:sldChg chg="addSp modSp del mod modShow">
        <pc:chgData name="Tiwari, Rashika" userId="ffd7dc98-58d1-4b72-a1f4-65ee5bc1e797" providerId="ADAL" clId="{207F9F02-ABBA-4E99-84D7-FDDE411D60AC}" dt="2026-01-08T06:24:46.831" v="828" actId="47"/>
        <pc:sldMkLst>
          <pc:docMk/>
          <pc:sldMk cId="2687047659" sldId="2147480076"/>
        </pc:sldMkLst>
        <pc:spChg chg="add mod">
          <ac:chgData name="Tiwari, Rashika" userId="ffd7dc98-58d1-4b72-a1f4-65ee5bc1e797" providerId="ADAL" clId="{207F9F02-ABBA-4E99-84D7-FDDE411D60AC}" dt="2026-01-08T05:16:11.980" v="284"/>
          <ac:spMkLst>
            <pc:docMk/>
            <pc:sldMk cId="2687047659" sldId="2147480076"/>
            <ac:spMk id="2" creationId="{ADD0B94C-97D1-86A9-0B7C-51755421AFCE}"/>
          </ac:spMkLst>
        </pc:spChg>
        <pc:spChg chg="add mod">
          <ac:chgData name="Tiwari, Rashika" userId="ffd7dc98-58d1-4b72-a1f4-65ee5bc1e797" providerId="ADAL" clId="{207F9F02-ABBA-4E99-84D7-FDDE411D60AC}" dt="2026-01-08T05:16:20.372" v="286"/>
          <ac:spMkLst>
            <pc:docMk/>
            <pc:sldMk cId="2687047659" sldId="2147480076"/>
            <ac:spMk id="3" creationId="{CB7D2D59-12A8-0625-B354-396EEE7BEB69}"/>
          </ac:spMkLst>
        </pc:spChg>
      </pc:sldChg>
      <pc:sldChg chg="modSp mod">
        <pc:chgData name="Tiwari, Rashika" userId="ffd7dc98-58d1-4b72-a1f4-65ee5bc1e797" providerId="ADAL" clId="{207F9F02-ABBA-4E99-84D7-FDDE411D60AC}" dt="2026-01-09T07:25:51.148" v="880" actId="20577"/>
        <pc:sldMkLst>
          <pc:docMk/>
          <pc:sldMk cId="2858295821" sldId="2147480077"/>
        </pc:sldMkLst>
        <pc:spChg chg="mod">
          <ac:chgData name="Tiwari, Rashika" userId="ffd7dc98-58d1-4b72-a1f4-65ee5bc1e797" providerId="ADAL" clId="{207F9F02-ABBA-4E99-84D7-FDDE411D60AC}" dt="2026-01-09T07:25:51.148" v="880" actId="20577"/>
          <ac:spMkLst>
            <pc:docMk/>
            <pc:sldMk cId="2858295821" sldId="2147480077"/>
            <ac:spMk id="26" creationId="{5E67555D-80DA-522A-048F-6A752A6BD1FC}"/>
          </ac:spMkLst>
        </pc:spChg>
      </pc:sldChg>
      <pc:sldChg chg="ord">
        <pc:chgData name="Tiwari, Rashika" userId="ffd7dc98-58d1-4b72-a1f4-65ee5bc1e797" providerId="ADAL" clId="{207F9F02-ABBA-4E99-84D7-FDDE411D60AC}" dt="2026-01-08T06:24:58.443" v="832"/>
        <pc:sldMkLst>
          <pc:docMk/>
          <pc:sldMk cId="3581160053" sldId="2147480077"/>
        </pc:sldMkLst>
      </pc:sldChg>
      <pc:sldChg chg="addSp modSp new del">
        <pc:chgData name="Tiwari, Rashika" userId="ffd7dc98-58d1-4b72-a1f4-65ee5bc1e797" providerId="ADAL" clId="{207F9F02-ABBA-4E99-84D7-FDDE411D60AC}" dt="2026-01-08T05:42:06.008" v="724" actId="47"/>
        <pc:sldMkLst>
          <pc:docMk/>
          <pc:sldMk cId="4044222711" sldId="2147480078"/>
        </pc:sldMkLst>
        <pc:graphicFrameChg chg="add mod">
          <ac:chgData name="Tiwari, Rashika" userId="ffd7dc98-58d1-4b72-a1f4-65ee5bc1e797" providerId="ADAL" clId="{207F9F02-ABBA-4E99-84D7-FDDE411D60AC}" dt="2026-01-08T05:41:13.190" v="713"/>
          <ac:graphicFrameMkLst>
            <pc:docMk/>
            <pc:sldMk cId="4044222711" sldId="2147480078"/>
            <ac:graphicFrameMk id="29" creationId="{D27BCE4C-0EBD-8A20-356A-32FC4B5D2FF2}"/>
          </ac:graphicFrameMkLst>
        </pc:graphicFrameChg>
      </pc:sldChg>
    </pc:docChg>
  </pc:docChgLst>
  <pc:docChgLst>
    <pc:chgData name="Tiwari, Rashika" userId="S::rashika.tiwari@lr.org::ffd7dc98-58d1-4b72-a1f4-65ee5bc1e797" providerId="AD" clId="Web-{0BC92EF9-5477-07C8-FD45-4B7C051AA8FB}"/>
    <pc:docChg chg="modSld">
      <pc:chgData name="Tiwari, Rashika" userId="S::rashika.tiwari@lr.org::ffd7dc98-58d1-4b72-a1f4-65ee5bc1e797" providerId="AD" clId="Web-{0BC92EF9-5477-07C8-FD45-4B7C051AA8FB}" dt="2026-01-09T07:22:18.456" v="12"/>
      <pc:docMkLst>
        <pc:docMk/>
      </pc:docMkLst>
      <pc:sldChg chg="addSp delSp modSp">
        <pc:chgData name="Tiwari, Rashika" userId="S::rashika.tiwari@lr.org::ffd7dc98-58d1-4b72-a1f4-65ee5bc1e797" providerId="AD" clId="Web-{0BC92EF9-5477-07C8-FD45-4B7C051AA8FB}" dt="2026-01-09T07:22:18.456" v="12"/>
        <pc:sldMkLst>
          <pc:docMk/>
          <pc:sldMk cId="3292769897" sldId="2147480068"/>
        </pc:sldMkLst>
        <pc:graphicFrameChg chg="mod modGraphic">
          <ac:chgData name="Tiwari, Rashika" userId="S::rashika.tiwari@lr.org::ffd7dc98-58d1-4b72-a1f4-65ee5bc1e797" providerId="AD" clId="Web-{0BC92EF9-5477-07C8-FD45-4B7C051AA8FB}" dt="2026-01-09T07:22:03.987" v="8"/>
          <ac:graphicFrameMkLst>
            <pc:docMk/>
            <pc:sldMk cId="3292769897" sldId="2147480068"/>
            <ac:graphicFrameMk id="4" creationId="{3C130BC0-D3A1-F863-37F3-49EF02A6E865}"/>
          </ac:graphicFrameMkLst>
        </pc:graphicFrameChg>
        <pc:graphicFrameChg chg="add del mod">
          <ac:chgData name="Tiwari, Rashika" userId="S::rashika.tiwari@lr.org::ffd7dc98-58d1-4b72-a1f4-65ee5bc1e797" providerId="AD" clId="Web-{0BC92EF9-5477-07C8-FD45-4B7C051AA8FB}" dt="2026-01-09T07:22:07.955" v="10"/>
          <ac:graphicFrameMkLst>
            <pc:docMk/>
            <pc:sldMk cId="3292769897" sldId="2147480068"/>
            <ac:graphicFrameMk id="5" creationId="{6C0744B0-9601-BCD6-BEE9-0909E6C38E5F}"/>
          </ac:graphicFrameMkLst>
        </pc:graphicFrameChg>
        <pc:graphicFrameChg chg="add del mod">
          <ac:chgData name="Tiwari, Rashika" userId="S::rashika.tiwari@lr.org::ffd7dc98-58d1-4b72-a1f4-65ee5bc1e797" providerId="AD" clId="Web-{0BC92EF9-5477-07C8-FD45-4B7C051AA8FB}" dt="2026-01-09T07:22:18.456" v="12"/>
          <ac:graphicFrameMkLst>
            <pc:docMk/>
            <pc:sldMk cId="3292769897" sldId="2147480068"/>
            <ac:graphicFrameMk id="7" creationId="{375264C6-BB30-7A34-BA7E-A77090EEF00A}"/>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0D91A8-4233-41B0-93B9-391A41141CA8}" type="datetimeFigureOut">
              <a:rPr lang="en-IN" smtClean="0"/>
              <a:t>13/01/26</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86621D-633C-4E4D-B9D4-4D9F3157AE29}" type="slidenum">
              <a:rPr lang="en-IN" smtClean="0"/>
              <a:t>‹#›</a:t>
            </a:fld>
            <a:endParaRPr lang="en-IN"/>
          </a:p>
        </p:txBody>
      </p:sp>
    </p:spTree>
    <p:extLst>
      <p:ext uri="{BB962C8B-B14F-4D97-AF65-F5344CB8AC3E}">
        <p14:creationId xmlns:p14="http://schemas.microsoft.com/office/powerpoint/2010/main" val="10445431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algn="ctr"/>
            <a:endParaRPr lang="en-IN"/>
          </a:p>
        </p:txBody>
      </p:sp>
      <p:sp>
        <p:nvSpPr>
          <p:cNvPr id="4" name="Slide Number Placeholder 3"/>
          <p:cNvSpPr>
            <a:spLocks noGrp="1"/>
          </p:cNvSpPr>
          <p:nvPr>
            <p:ph type="sldNum" sz="quarter" idx="5"/>
          </p:nvPr>
        </p:nvSpPr>
        <p:spPr/>
        <p:txBody>
          <a:bodyPr/>
          <a:lstStyle/>
          <a:p>
            <a:fld id="{2D86621D-633C-4E4D-B9D4-4D9F3157AE29}" type="slidenum">
              <a:rPr lang="en-IN" smtClean="0"/>
              <a:t>1</a:t>
            </a:fld>
            <a:endParaRPr lang="en-IN"/>
          </a:p>
        </p:txBody>
      </p:sp>
    </p:spTree>
    <p:extLst>
      <p:ext uri="{BB962C8B-B14F-4D97-AF65-F5344CB8AC3E}">
        <p14:creationId xmlns:p14="http://schemas.microsoft.com/office/powerpoint/2010/main" val="342113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D86621D-633C-4E4D-B9D4-4D9F3157AE29}" type="slidenum">
              <a:rPr lang="en-IN" smtClean="0"/>
              <a:t>2</a:t>
            </a:fld>
            <a:endParaRPr lang="en-IN"/>
          </a:p>
        </p:txBody>
      </p:sp>
    </p:spTree>
    <p:extLst>
      <p:ext uri="{BB962C8B-B14F-4D97-AF65-F5344CB8AC3E}">
        <p14:creationId xmlns:p14="http://schemas.microsoft.com/office/powerpoint/2010/main" val="613651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D86621D-633C-4E4D-B9D4-4D9F3157AE29}" type="slidenum">
              <a:rPr lang="en-IN" smtClean="0"/>
              <a:t>3</a:t>
            </a:fld>
            <a:endParaRPr lang="en-IN"/>
          </a:p>
        </p:txBody>
      </p:sp>
    </p:spTree>
    <p:extLst>
      <p:ext uri="{BB962C8B-B14F-4D97-AF65-F5344CB8AC3E}">
        <p14:creationId xmlns:p14="http://schemas.microsoft.com/office/powerpoint/2010/main" val="970671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BEF12-4BFA-CB38-96FA-D9E79E5283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DAF28C-24D3-1052-8610-EA43F05FCA8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B030BD7-C444-7A0D-ADB7-D6B04B8E2D9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6EC74B62-BB8D-2249-058E-782AD961B180}"/>
              </a:ext>
            </a:extLst>
          </p:cNvPr>
          <p:cNvSpPr>
            <a:spLocks noGrp="1"/>
          </p:cNvSpPr>
          <p:nvPr>
            <p:ph type="sldNum" sz="quarter" idx="5"/>
          </p:nvPr>
        </p:nvSpPr>
        <p:spPr/>
        <p:txBody>
          <a:bodyPr/>
          <a:lstStyle/>
          <a:p>
            <a:fld id="{2D86621D-633C-4E4D-B9D4-4D9F3157AE29}" type="slidenum">
              <a:rPr lang="en-IN" smtClean="0"/>
              <a:t>4</a:t>
            </a:fld>
            <a:endParaRPr lang="en-IN"/>
          </a:p>
        </p:txBody>
      </p:sp>
    </p:spTree>
    <p:extLst>
      <p:ext uri="{BB962C8B-B14F-4D97-AF65-F5344CB8AC3E}">
        <p14:creationId xmlns:p14="http://schemas.microsoft.com/office/powerpoint/2010/main" val="496736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1F8CA-6FAA-79C9-A280-E77837DE6B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8B9D04-92E3-E921-2BE8-7F49CF498DD3}"/>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454CD10-FD30-B6B0-A761-E61C030B8547}"/>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A83362F-E9B5-1BB8-B903-9CBE89146132}"/>
              </a:ext>
            </a:extLst>
          </p:cNvPr>
          <p:cNvSpPr>
            <a:spLocks noGrp="1"/>
          </p:cNvSpPr>
          <p:nvPr>
            <p:ph type="sldNum" sz="quarter" idx="5"/>
          </p:nvPr>
        </p:nvSpPr>
        <p:spPr/>
        <p:txBody>
          <a:bodyPr/>
          <a:lstStyle/>
          <a:p>
            <a:fld id="{2D86621D-633C-4E4D-B9D4-4D9F3157AE29}" type="slidenum">
              <a:rPr lang="en-IN" smtClean="0"/>
              <a:t>5</a:t>
            </a:fld>
            <a:endParaRPr lang="en-IN"/>
          </a:p>
        </p:txBody>
      </p:sp>
    </p:spTree>
    <p:extLst>
      <p:ext uri="{BB962C8B-B14F-4D97-AF65-F5344CB8AC3E}">
        <p14:creationId xmlns:p14="http://schemas.microsoft.com/office/powerpoint/2010/main" val="2416738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D86621D-633C-4E4D-B9D4-4D9F3157AE29}" type="slidenum">
              <a:rPr lang="en-IN" smtClean="0"/>
              <a:t>6</a:t>
            </a:fld>
            <a:endParaRPr lang="en-IN"/>
          </a:p>
        </p:txBody>
      </p:sp>
    </p:spTree>
    <p:extLst>
      <p:ext uri="{BB962C8B-B14F-4D97-AF65-F5344CB8AC3E}">
        <p14:creationId xmlns:p14="http://schemas.microsoft.com/office/powerpoint/2010/main" val="1068902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D86621D-633C-4E4D-B9D4-4D9F3157AE29}" type="slidenum">
              <a:rPr lang="en-IN" smtClean="0"/>
              <a:t>8</a:t>
            </a:fld>
            <a:endParaRPr lang="en-IN"/>
          </a:p>
        </p:txBody>
      </p:sp>
    </p:spTree>
    <p:extLst>
      <p:ext uri="{BB962C8B-B14F-4D97-AF65-F5344CB8AC3E}">
        <p14:creationId xmlns:p14="http://schemas.microsoft.com/office/powerpoint/2010/main" val="3090205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D86621D-633C-4E4D-B9D4-4D9F3157AE29}" type="slidenum">
              <a:rPr lang="en-IN" smtClean="0"/>
              <a:t>11</a:t>
            </a:fld>
            <a:endParaRPr lang="en-IN"/>
          </a:p>
        </p:txBody>
      </p:sp>
    </p:spTree>
    <p:extLst>
      <p:ext uri="{BB962C8B-B14F-4D97-AF65-F5344CB8AC3E}">
        <p14:creationId xmlns:p14="http://schemas.microsoft.com/office/powerpoint/2010/main" val="4124156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2D86621D-633C-4E4D-B9D4-4D9F3157AE29}" type="slidenum">
              <a:rPr lang="en-IN" smtClean="0"/>
              <a:t>12</a:t>
            </a:fld>
            <a:endParaRPr lang="en-IN"/>
          </a:p>
        </p:txBody>
      </p:sp>
    </p:spTree>
    <p:extLst>
      <p:ext uri="{BB962C8B-B14F-4D97-AF65-F5344CB8AC3E}">
        <p14:creationId xmlns:p14="http://schemas.microsoft.com/office/powerpoint/2010/main" val="320059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7.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6.sv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7C5EB-61BD-C7D0-C199-DAFE2F0725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9658394E-7CD8-EE17-CF38-215622BF97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5" name="Footer Placeholder 4">
            <a:extLst>
              <a:ext uri="{FF2B5EF4-FFF2-40B4-BE49-F238E27FC236}">
                <a16:creationId xmlns:a16="http://schemas.microsoft.com/office/drawing/2014/main" id="{7DF2077C-AB62-6E93-4A9C-F6187249E5BF}"/>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A6EB368B-6B72-EC12-DDFA-53879070A6B3}"/>
              </a:ext>
            </a:extLst>
          </p:cNvPr>
          <p:cNvSpPr>
            <a:spLocks noGrp="1"/>
          </p:cNvSpPr>
          <p:nvPr>
            <p:ph type="sldNum" sz="quarter" idx="12"/>
          </p:nvPr>
        </p:nvSpPr>
        <p:spPr/>
        <p:txBody>
          <a:bodyPr/>
          <a:lstStyle/>
          <a:p>
            <a:fld id="{887FB3E9-D005-4AC2-9474-885CF7811261}" type="slidenum">
              <a:rPr lang="en-IN" smtClean="0"/>
              <a:t>‹#›</a:t>
            </a:fld>
            <a:endParaRPr lang="en-IN"/>
          </a:p>
        </p:txBody>
      </p:sp>
      <p:sp>
        <p:nvSpPr>
          <p:cNvPr id="4" name="Date Placeholder 4">
            <a:extLst>
              <a:ext uri="{FF2B5EF4-FFF2-40B4-BE49-F238E27FC236}">
                <a16:creationId xmlns:a16="http://schemas.microsoft.com/office/drawing/2014/main" id="{A2F6256C-67D9-89D2-3469-F4AC1B424BE6}"/>
              </a:ext>
            </a:extLst>
          </p:cNvPr>
          <p:cNvSpPr txBox="1">
            <a:spLocks/>
          </p:cNvSpPr>
          <p:nvPr userDrawn="1"/>
        </p:nvSpPr>
        <p:spPr>
          <a:xfrm>
            <a:off x="122274" y="638569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a:t>27</a:t>
            </a:r>
            <a:r>
              <a:rPr lang="en-US" b="0" baseline="30000"/>
              <a:t>th</a:t>
            </a:r>
            <a:r>
              <a:rPr lang="en-US" b="0"/>
              <a:t>  October 2025</a:t>
            </a:r>
            <a:endParaRPr lang="en-IN" b="0"/>
          </a:p>
        </p:txBody>
      </p:sp>
    </p:spTree>
    <p:extLst>
      <p:ext uri="{BB962C8B-B14F-4D97-AF65-F5344CB8AC3E}">
        <p14:creationId xmlns:p14="http://schemas.microsoft.com/office/powerpoint/2010/main" val="20307429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30DEE-5DA6-FAAD-04F2-DE4937F2C93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6B2ABF7-CF76-5847-82D3-E20A8E5AB2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9381F01-3387-1F0F-F773-7CE8215B1C42}"/>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30B12371-8A50-3A61-AADB-555766CB3E48}"/>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758078FF-9266-88D5-5DE2-55E91F5DEB41}"/>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3396200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077DBB8-B4B8-241D-C303-09CA52657EA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014105F-7770-CB46-D38D-18CED3DF808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53CB237-66FF-6271-7AC3-27C01DFEB38F}"/>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B0B5E811-5210-EF9E-EFB7-106A5AABD4AC}"/>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321C9069-9E48-F3DA-8E1C-23BF7FE16DFB}"/>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31535863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mplat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E6C631F3-1CF5-2C2E-770E-FD967CE0C05B}"/>
              </a:ext>
            </a:extLst>
          </p:cNvPr>
          <p:cNvSpPr>
            <a:spLocks noGrp="1"/>
          </p:cNvSpPr>
          <p:nvPr>
            <p:ph type="title" hasCustomPrompt="1"/>
          </p:nvPr>
        </p:nvSpPr>
        <p:spPr>
          <a:xfrm>
            <a:off x="2017059" y="176357"/>
            <a:ext cx="8982635" cy="740660"/>
          </a:xfrm>
          <a:prstGeom prst="rect">
            <a:avLst/>
          </a:prstGeom>
        </p:spPr>
        <p:txBody>
          <a:bodyPr vert="horz" lIns="91440" tIns="45720" rIns="91440" bIns="45720" rtlCol="0" anchor="ctr">
            <a:normAutofit/>
          </a:bodyPr>
          <a:lstStyle>
            <a:lvl1pPr algn="ctr">
              <a:defRPr b="1">
                <a:solidFill>
                  <a:schemeClr val="accent1"/>
                </a:solidFill>
              </a:defRPr>
            </a:lvl1pPr>
          </a:lstStyle>
          <a:p>
            <a:r>
              <a:rPr lang="en-US"/>
              <a:t>Click to edit title</a:t>
            </a:r>
            <a:endParaRPr lang="en-IN"/>
          </a:p>
        </p:txBody>
      </p:sp>
      <p:sp>
        <p:nvSpPr>
          <p:cNvPr id="17" name="Footer Placeholder 16">
            <a:extLst>
              <a:ext uri="{FF2B5EF4-FFF2-40B4-BE49-F238E27FC236}">
                <a16:creationId xmlns:a16="http://schemas.microsoft.com/office/drawing/2014/main" id="{B3241BB4-F690-A8C1-6759-41CEC4D88D66}"/>
              </a:ext>
            </a:extLst>
          </p:cNvPr>
          <p:cNvSpPr>
            <a:spLocks noGrp="1"/>
          </p:cNvSpPr>
          <p:nvPr>
            <p:ph type="ftr" sz="quarter" idx="11"/>
          </p:nvPr>
        </p:nvSpPr>
        <p:spPr/>
        <p:txBody>
          <a:bodyPr/>
          <a:lstStyle>
            <a:lvl1pPr>
              <a:defRPr/>
            </a:lvl1pPr>
          </a:lstStyle>
          <a:p>
            <a:r>
              <a:rPr lang="en-US"/>
              <a:t>India’s Maritime Decarbonization</a:t>
            </a:r>
            <a:endParaRPr lang="en-IN"/>
          </a:p>
        </p:txBody>
      </p:sp>
      <p:sp>
        <p:nvSpPr>
          <p:cNvPr id="18" name="Slide Number Placeholder 17">
            <a:extLst>
              <a:ext uri="{FF2B5EF4-FFF2-40B4-BE49-F238E27FC236}">
                <a16:creationId xmlns:a16="http://schemas.microsoft.com/office/drawing/2014/main" id="{AB5AF714-D3C7-B1EA-B65C-B499FB80BFED}"/>
              </a:ext>
            </a:extLst>
          </p:cNvPr>
          <p:cNvSpPr>
            <a:spLocks noGrp="1"/>
          </p:cNvSpPr>
          <p:nvPr>
            <p:ph type="sldNum" sz="quarter" idx="12"/>
          </p:nvPr>
        </p:nvSpPr>
        <p:spPr/>
        <p:txBody>
          <a:bodyPr/>
          <a:lstStyle/>
          <a:p>
            <a:r>
              <a:rPr lang="en-IN"/>
              <a:t>Slide </a:t>
            </a:r>
            <a:fld id="{61F59DBB-61E3-46AB-854D-9BC0E6F19EAE}" type="slidenum">
              <a:rPr lang="en-IN" smtClean="0"/>
              <a:pPr/>
              <a:t>‹#›</a:t>
            </a:fld>
            <a:r>
              <a:rPr lang="en-IN"/>
              <a:t> of 31</a:t>
            </a:r>
          </a:p>
        </p:txBody>
      </p:sp>
      <p:pic>
        <p:nvPicPr>
          <p:cNvPr id="2" name="Picture 2" descr="Directorate General of Shipping - Exit Exam">
            <a:extLst>
              <a:ext uri="{FF2B5EF4-FFF2-40B4-BE49-F238E27FC236}">
                <a16:creationId xmlns:a16="http://schemas.microsoft.com/office/drawing/2014/main" id="{D7778C40-829B-AC9C-13D9-14AC556C0E4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71255" y="103945"/>
            <a:ext cx="783160" cy="93457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6541FDD-6160-7837-F2C7-915308DACF38}"/>
              </a:ext>
            </a:extLst>
          </p:cNvPr>
          <p:cNvPicPr>
            <a:picLocks noChangeAspect="1"/>
          </p:cNvPicPr>
          <p:nvPr userDrawn="1"/>
        </p:nvPicPr>
        <p:blipFill>
          <a:blip r:embed="rId3">
            <a:extLst>
              <a:ext uri="{28A0092B-C50C-407E-A947-70E740481C1C}">
                <a14:useLocalDpi xmlns:a14="http://schemas.microsoft.com/office/drawing/2010/main" val="0"/>
              </a:ext>
            </a:extLst>
          </a:blip>
          <a:srcRect l="3768" r="3612" b="1911"/>
          <a:stretch>
            <a:fillRect/>
          </a:stretch>
        </p:blipFill>
        <p:spPr>
          <a:xfrm>
            <a:off x="202956" y="157438"/>
            <a:ext cx="817790" cy="827587"/>
          </a:xfrm>
          <a:prstGeom prst="ellipse">
            <a:avLst/>
          </a:prstGeom>
        </p:spPr>
      </p:pic>
      <p:sp>
        <p:nvSpPr>
          <p:cNvPr id="4" name="Date Placeholder 4">
            <a:extLst>
              <a:ext uri="{FF2B5EF4-FFF2-40B4-BE49-F238E27FC236}">
                <a16:creationId xmlns:a16="http://schemas.microsoft.com/office/drawing/2014/main" id="{9A2D5409-BB0D-D47B-2DAC-B35A188F307A}"/>
              </a:ext>
            </a:extLst>
          </p:cNvPr>
          <p:cNvSpPr txBox="1">
            <a:spLocks/>
          </p:cNvSpPr>
          <p:nvPr userDrawn="1"/>
        </p:nvSpPr>
        <p:spPr>
          <a:xfrm>
            <a:off x="122274" y="638569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a:t>27</a:t>
            </a:r>
            <a:r>
              <a:rPr lang="en-US" b="0" baseline="30000"/>
              <a:t>th</a:t>
            </a:r>
            <a:r>
              <a:rPr lang="en-US" b="0"/>
              <a:t>  October 2025</a:t>
            </a:r>
            <a:endParaRPr lang="en-IN" b="0"/>
          </a:p>
        </p:txBody>
      </p:sp>
    </p:spTree>
    <p:extLst>
      <p:ext uri="{BB962C8B-B14F-4D97-AF65-F5344CB8AC3E}">
        <p14:creationId xmlns:p14="http://schemas.microsoft.com/office/powerpoint/2010/main" val="1173534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1139738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8813205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9530702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1632352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3399833295"/>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34086250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122131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72945-2B68-1B54-D7D5-2F64D4EBEB3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CB119B1-DD47-E4C0-F613-3D3F2243C6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3D03D9-21F8-1B30-73B5-48A49B439379}"/>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A00E32F4-254F-0D29-DC7C-7660C1FFCB92}"/>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CF856BDB-30CC-9622-0E44-E85BED11A05F}"/>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5610788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616531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76983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4369533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754145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244873016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639164331"/>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0491153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21376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752587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80601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CED82-6B6B-697C-D27C-0EDB3CA33A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8DF712E-D3D1-D2A9-43F5-88E7BFBB648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69DEEE-3497-E99B-A96C-0CF620FD766A}"/>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67146595-5D55-0C5E-2B4E-9220085D1731}"/>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E8559714-F3AF-F49D-F35B-1DE8E4D86069}"/>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30572747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661572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7027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259798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902260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5258091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4089204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25907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935836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68509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5814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9A56-7B5A-F34D-F8AB-4DE265593AA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97C7DA9-9FDA-51D4-1802-FF700D0E9E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FBBA93A-598B-456A-1269-2BD2481CAC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BF03CE6D-CD3C-FCD7-7AD4-0C25B88E2DDC}"/>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FDFE98BC-F3DA-0D7C-0B24-2088E9F304DA}"/>
              </a:ext>
            </a:extLst>
          </p:cNvPr>
          <p:cNvSpPr>
            <a:spLocks noGrp="1"/>
          </p:cNvSpPr>
          <p:nvPr>
            <p:ph type="ftr" sz="quarter" idx="11"/>
          </p:nvPr>
        </p:nvSpPr>
        <p:spPr/>
        <p:txBody>
          <a:bodyPr/>
          <a:lstStyle/>
          <a:p>
            <a:r>
              <a:rPr lang="en-US"/>
              <a:t>India’s Maritime Decarbonization</a:t>
            </a:r>
            <a:endParaRPr lang="en-IN"/>
          </a:p>
        </p:txBody>
      </p:sp>
      <p:sp>
        <p:nvSpPr>
          <p:cNvPr id="7" name="Slide Number Placeholder 6">
            <a:extLst>
              <a:ext uri="{FF2B5EF4-FFF2-40B4-BE49-F238E27FC236}">
                <a16:creationId xmlns:a16="http://schemas.microsoft.com/office/drawing/2014/main" id="{EC284F02-EABE-FD38-D545-BB42EAC87D9C}"/>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2930449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826639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Graphic 8">
            <a:extLst>
              <a:ext uri="{FF2B5EF4-FFF2-40B4-BE49-F238E27FC236}">
                <a16:creationId xmlns:a16="http://schemas.microsoft.com/office/drawing/2014/main" id="{3FE807FD-1F53-40C0-958E-7B645C12F83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885307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9860207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28090307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2593874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0985298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2338691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28693040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1_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FEC81A12-E9A6-4A7B-A0C5-1CE89B589BD0}"/>
              </a:ext>
            </a:extLst>
          </p:cNvPr>
          <p:cNvSpPr>
            <a:spLocks noGrp="1"/>
          </p:cNvSpPr>
          <p:nvPr>
            <p:ph type="pic" sz="quarter" idx="12" hasCustomPrompt="1"/>
          </p:nvPr>
        </p:nvSpPr>
        <p:spPr>
          <a:xfrm>
            <a:off x="0" y="0"/>
            <a:ext cx="12192000" cy="6858000"/>
          </a:xfrm>
          <a:solidFill>
            <a:schemeClr val="bg1">
              <a:lumMod val="75000"/>
            </a:schemeClr>
          </a:solidFill>
        </p:spPr>
        <p:txBody>
          <a:bodyPr/>
          <a:lstStyle>
            <a:lvl1pPr algn="ctr">
              <a:defRPr sz="1200"/>
            </a:lvl1pPr>
          </a:lstStyle>
          <a:p>
            <a:r>
              <a:rPr lang="en-US"/>
              <a:t>Click on frame and insert dark/light picture using the Insert tab, Pictures.</a:t>
            </a:r>
            <a:br>
              <a:rPr lang="en-US"/>
            </a:br>
            <a:r>
              <a:rPr lang="en-US"/>
              <a:t>Or via Templafy Images</a:t>
            </a:r>
          </a:p>
          <a:p>
            <a:endParaRPr lang="en-GB"/>
          </a:p>
        </p:txBody>
      </p:sp>
      <p:sp>
        <p:nvSpPr>
          <p:cNvPr id="7" name="Text Placeholder 7">
            <a:extLst>
              <a:ext uri="{FF2B5EF4-FFF2-40B4-BE49-F238E27FC236}">
                <a16:creationId xmlns:a16="http://schemas.microsoft.com/office/drawing/2014/main" id="{950708D3-44D6-48DA-B6FC-09F3947F8E94}"/>
              </a:ext>
            </a:extLst>
          </p:cNvPr>
          <p:cNvSpPr>
            <a:spLocks noGrp="1"/>
          </p:cNvSpPr>
          <p:nvPr>
            <p:ph type="body" sz="quarter" idx="13"/>
          </p:nvPr>
        </p:nvSpPr>
        <p:spPr>
          <a:xfrm>
            <a:off x="998476" y="371312"/>
            <a:ext cx="914400" cy="367739"/>
          </a:xfrm>
          <a:custGeom>
            <a:avLst/>
            <a:gdLst>
              <a:gd name="connsiteX0" fmla="*/ 718742 w 914400"/>
              <a:gd name="connsiteY0" fmla="*/ 287058 h 367739"/>
              <a:gd name="connsiteX1" fmla="*/ 765334 w 914400"/>
              <a:gd name="connsiteY1" fmla="*/ 329257 h 367739"/>
              <a:gd name="connsiteX2" fmla="*/ 797096 w 914400"/>
              <a:gd name="connsiteY2" fmla="*/ 326026 h 367739"/>
              <a:gd name="connsiteX3" fmla="*/ 806757 w 914400"/>
              <a:gd name="connsiteY3" fmla="*/ 287058 h 367739"/>
              <a:gd name="connsiteX4" fmla="*/ 597317 w 914400"/>
              <a:gd name="connsiteY4" fmla="*/ 212258 h 367739"/>
              <a:gd name="connsiteX5" fmla="*/ 554311 w 914400"/>
              <a:gd name="connsiteY5" fmla="*/ 279918 h 367739"/>
              <a:gd name="connsiteX6" fmla="*/ 582745 w 914400"/>
              <a:gd name="connsiteY6" fmla="*/ 279918 h 367739"/>
              <a:gd name="connsiteX7" fmla="*/ 457701 w 914400"/>
              <a:gd name="connsiteY7" fmla="*/ 209318 h 367739"/>
              <a:gd name="connsiteX8" fmla="*/ 437830 w 914400"/>
              <a:gd name="connsiteY8" fmla="*/ 279918 h 367739"/>
              <a:gd name="connsiteX9" fmla="*/ 458412 w 914400"/>
              <a:gd name="connsiteY9" fmla="*/ 279918 h 367739"/>
              <a:gd name="connsiteX10" fmla="*/ 290266 w 914400"/>
              <a:gd name="connsiteY10" fmla="*/ 198365 h 367739"/>
              <a:gd name="connsiteX11" fmla="*/ 283804 w 914400"/>
              <a:gd name="connsiteY11" fmla="*/ 222404 h 367739"/>
              <a:gd name="connsiteX12" fmla="*/ 281154 w 914400"/>
              <a:gd name="connsiteY12" fmla="*/ 232679 h 367739"/>
              <a:gd name="connsiteX13" fmla="*/ 275565 w 914400"/>
              <a:gd name="connsiteY13" fmla="*/ 253326 h 367739"/>
              <a:gd name="connsiteX14" fmla="*/ 287649 w 914400"/>
              <a:gd name="connsiteY14" fmla="*/ 253326 h 367739"/>
              <a:gd name="connsiteX15" fmla="*/ 294596 w 914400"/>
              <a:gd name="connsiteY15" fmla="*/ 253326 h 367739"/>
              <a:gd name="connsiteX16" fmla="*/ 300379 w 914400"/>
              <a:gd name="connsiteY16" fmla="*/ 253100 h 367739"/>
              <a:gd name="connsiteX17" fmla="*/ 300573 w 914400"/>
              <a:gd name="connsiteY17" fmla="*/ 253196 h 367739"/>
              <a:gd name="connsiteX18" fmla="*/ 336697 w 914400"/>
              <a:gd name="connsiteY18" fmla="*/ 225086 h 367739"/>
              <a:gd name="connsiteX19" fmla="*/ 337569 w 914400"/>
              <a:gd name="connsiteY19" fmla="*/ 204407 h 367739"/>
              <a:gd name="connsiteX20" fmla="*/ 307811 w 914400"/>
              <a:gd name="connsiteY20" fmla="*/ 198365 h 367739"/>
              <a:gd name="connsiteX21" fmla="*/ 298473 w 914400"/>
              <a:gd name="connsiteY21" fmla="*/ 198365 h 367739"/>
              <a:gd name="connsiteX22" fmla="*/ 290266 w 914400"/>
              <a:gd name="connsiteY22" fmla="*/ 198365 h 367739"/>
              <a:gd name="connsiteX23" fmla="*/ 499415 w 914400"/>
              <a:gd name="connsiteY23" fmla="*/ 7180 h 367739"/>
              <a:gd name="connsiteX24" fmla="*/ 499415 w 914400"/>
              <a:gd name="connsiteY24" fmla="*/ 279982 h 367739"/>
              <a:gd name="connsiteX25" fmla="*/ 504649 w 914400"/>
              <a:gd name="connsiteY25" fmla="*/ 279982 h 367739"/>
              <a:gd name="connsiteX26" fmla="*/ 576121 w 914400"/>
              <a:gd name="connsiteY26" fmla="*/ 167314 h 367739"/>
              <a:gd name="connsiteX27" fmla="*/ 655994 w 914400"/>
              <a:gd name="connsiteY27" fmla="*/ 167314 h 367739"/>
              <a:gd name="connsiteX28" fmla="*/ 632277 w 914400"/>
              <a:gd name="connsiteY28" fmla="*/ 279918 h 367739"/>
              <a:gd name="connsiteX29" fmla="*/ 660033 w 914400"/>
              <a:gd name="connsiteY29" fmla="*/ 279918 h 367739"/>
              <a:gd name="connsiteX30" fmla="*/ 663038 w 914400"/>
              <a:gd name="connsiteY30" fmla="*/ 263407 h 367739"/>
              <a:gd name="connsiteX31" fmla="*/ 688208 w 914400"/>
              <a:gd name="connsiteY31" fmla="*/ 209318 h 367739"/>
              <a:gd name="connsiteX32" fmla="*/ 688208 w 914400"/>
              <a:gd name="connsiteY32" fmla="*/ 170222 h 367739"/>
              <a:gd name="connsiteX33" fmla="*/ 688305 w 914400"/>
              <a:gd name="connsiteY33" fmla="*/ 7180 h 367739"/>
              <a:gd name="connsiteX34" fmla="*/ 279248 w 914400"/>
              <a:gd name="connsiteY34" fmla="*/ 7180 h 367739"/>
              <a:gd name="connsiteX35" fmla="*/ 279248 w 914400"/>
              <a:gd name="connsiteY35" fmla="*/ 166991 h 367739"/>
              <a:gd name="connsiteX36" fmla="*/ 316761 w 914400"/>
              <a:gd name="connsiteY36" fmla="*/ 166991 h 367739"/>
              <a:gd name="connsiteX37" fmla="*/ 377667 w 914400"/>
              <a:gd name="connsiteY37" fmla="*/ 180917 h 367739"/>
              <a:gd name="connsiteX38" fmla="*/ 384129 w 914400"/>
              <a:gd name="connsiteY38" fmla="*/ 225667 h 367739"/>
              <a:gd name="connsiteX39" fmla="*/ 338248 w 914400"/>
              <a:gd name="connsiteY39" fmla="*/ 279918 h 367739"/>
              <a:gd name="connsiteX40" fmla="*/ 388459 w 914400"/>
              <a:gd name="connsiteY40" fmla="*/ 279918 h 367739"/>
              <a:gd name="connsiteX41" fmla="*/ 420770 w 914400"/>
              <a:gd name="connsiteY41" fmla="*/ 167055 h 367739"/>
              <a:gd name="connsiteX42" fmla="*/ 468041 w 914400"/>
              <a:gd name="connsiteY42" fmla="*/ 167055 h 367739"/>
              <a:gd name="connsiteX43" fmla="*/ 467976 w 914400"/>
              <a:gd name="connsiteY43" fmla="*/ 7180 h 367739"/>
              <a:gd name="connsiteX44" fmla="*/ 59113 w 914400"/>
              <a:gd name="connsiteY44" fmla="*/ 7180 h 367739"/>
              <a:gd name="connsiteX45" fmla="*/ 59113 w 914400"/>
              <a:gd name="connsiteY45" fmla="*/ 167314 h 367739"/>
              <a:gd name="connsiteX46" fmla="*/ 104607 w 914400"/>
              <a:gd name="connsiteY46" fmla="*/ 167314 h 367739"/>
              <a:gd name="connsiteX47" fmla="*/ 80342 w 914400"/>
              <a:gd name="connsiteY47" fmla="*/ 248091 h 367739"/>
              <a:gd name="connsiteX48" fmla="*/ 155303 w 914400"/>
              <a:gd name="connsiteY48" fmla="*/ 167314 h 367739"/>
              <a:gd name="connsiteX49" fmla="*/ 216694 w 914400"/>
              <a:gd name="connsiteY49" fmla="*/ 167314 h 367739"/>
              <a:gd name="connsiteX50" fmla="*/ 120957 w 914400"/>
              <a:gd name="connsiteY50" fmla="*/ 265249 h 367739"/>
              <a:gd name="connsiteX51" fmla="*/ 127903 w 914400"/>
              <a:gd name="connsiteY51" fmla="*/ 280015 h 367739"/>
              <a:gd name="connsiteX52" fmla="*/ 217017 w 914400"/>
              <a:gd name="connsiteY52" fmla="*/ 280015 h 367739"/>
              <a:gd name="connsiteX53" fmla="*/ 218083 w 914400"/>
              <a:gd name="connsiteY53" fmla="*/ 276784 h 367739"/>
              <a:gd name="connsiteX54" fmla="*/ 245095 w 914400"/>
              <a:gd name="connsiteY54" fmla="*/ 186862 h 367739"/>
              <a:gd name="connsiteX55" fmla="*/ 248068 w 914400"/>
              <a:gd name="connsiteY55" fmla="*/ 177169 h 367739"/>
              <a:gd name="connsiteX56" fmla="*/ 247874 w 914400"/>
              <a:gd name="connsiteY56" fmla="*/ 7180 h 367739"/>
              <a:gd name="connsiteX57" fmla="*/ 719646 w 914400"/>
              <a:gd name="connsiteY57" fmla="*/ 7083 h 367739"/>
              <a:gd name="connsiteX58" fmla="*/ 719646 w 914400"/>
              <a:gd name="connsiteY58" fmla="*/ 178332 h 367739"/>
              <a:gd name="connsiteX59" fmla="*/ 803332 w 914400"/>
              <a:gd name="connsiteY59" fmla="*/ 156199 h 367739"/>
              <a:gd name="connsiteX60" fmla="*/ 871379 w 914400"/>
              <a:gd name="connsiteY60" fmla="*/ 179657 h 367739"/>
              <a:gd name="connsiteX61" fmla="*/ 876096 w 914400"/>
              <a:gd name="connsiteY61" fmla="*/ 221661 h 367739"/>
              <a:gd name="connsiteX62" fmla="*/ 819358 w 914400"/>
              <a:gd name="connsiteY62" fmla="*/ 221661 h 367739"/>
              <a:gd name="connsiteX63" fmla="*/ 791054 w 914400"/>
              <a:gd name="connsiteY63" fmla="*/ 194778 h 367739"/>
              <a:gd name="connsiteX64" fmla="*/ 721843 w 914400"/>
              <a:gd name="connsiteY64" fmla="*/ 262244 h 367739"/>
              <a:gd name="connsiteX65" fmla="*/ 719646 w 914400"/>
              <a:gd name="connsiteY65" fmla="*/ 273455 h 367739"/>
              <a:gd name="connsiteX66" fmla="*/ 719646 w 914400"/>
              <a:gd name="connsiteY66" fmla="*/ 279918 h 367739"/>
              <a:gd name="connsiteX67" fmla="*/ 765689 w 914400"/>
              <a:gd name="connsiteY67" fmla="*/ 279918 h 367739"/>
              <a:gd name="connsiteX68" fmla="*/ 773541 w 914400"/>
              <a:gd name="connsiteY68" fmla="*/ 248479 h 367739"/>
              <a:gd name="connsiteX69" fmla="*/ 868891 w 914400"/>
              <a:gd name="connsiteY69" fmla="*/ 248479 h 367739"/>
              <a:gd name="connsiteX70" fmla="*/ 861007 w 914400"/>
              <a:gd name="connsiteY70" fmla="*/ 279918 h 367739"/>
              <a:gd name="connsiteX71" fmla="*/ 908601 w 914400"/>
              <a:gd name="connsiteY71" fmla="*/ 279918 h 367739"/>
              <a:gd name="connsiteX72" fmla="*/ 908601 w 914400"/>
              <a:gd name="connsiteY72" fmla="*/ 7083 h 367739"/>
              <a:gd name="connsiteX73" fmla="*/ 51908 w 914400"/>
              <a:gd name="connsiteY73" fmla="*/ 0 h 367739"/>
              <a:gd name="connsiteX74" fmla="*/ 255209 w 914400"/>
              <a:gd name="connsiteY74" fmla="*/ 0 h 367739"/>
              <a:gd name="connsiteX75" fmla="*/ 255209 w 914400"/>
              <a:gd name="connsiteY75" fmla="*/ 167314 h 367739"/>
              <a:gd name="connsiteX76" fmla="*/ 272010 w 914400"/>
              <a:gd name="connsiteY76" fmla="*/ 167314 h 367739"/>
              <a:gd name="connsiteX77" fmla="*/ 272010 w 914400"/>
              <a:gd name="connsiteY77" fmla="*/ 0 h 367739"/>
              <a:gd name="connsiteX78" fmla="*/ 475375 w 914400"/>
              <a:gd name="connsiteY78" fmla="*/ 0 h 367739"/>
              <a:gd name="connsiteX79" fmla="*/ 475375 w 914400"/>
              <a:gd name="connsiteY79" fmla="*/ 167055 h 367739"/>
              <a:gd name="connsiteX80" fmla="*/ 492210 w 914400"/>
              <a:gd name="connsiteY80" fmla="*/ 167055 h 367739"/>
              <a:gd name="connsiteX81" fmla="*/ 492210 w 914400"/>
              <a:gd name="connsiteY81" fmla="*/ 0 h 367739"/>
              <a:gd name="connsiteX82" fmla="*/ 695510 w 914400"/>
              <a:gd name="connsiteY82" fmla="*/ 0 h 367739"/>
              <a:gd name="connsiteX83" fmla="*/ 695510 w 914400"/>
              <a:gd name="connsiteY83" fmla="*/ 199786 h 367739"/>
              <a:gd name="connsiteX84" fmla="*/ 712473 w 914400"/>
              <a:gd name="connsiteY84" fmla="*/ 183469 h 367739"/>
              <a:gd name="connsiteX85" fmla="*/ 712473 w 914400"/>
              <a:gd name="connsiteY85" fmla="*/ 0 h 367739"/>
              <a:gd name="connsiteX86" fmla="*/ 914400 w 914400"/>
              <a:gd name="connsiteY86" fmla="*/ 0 h 367739"/>
              <a:gd name="connsiteX87" fmla="*/ 914400 w 914400"/>
              <a:gd name="connsiteY87" fmla="*/ 287091 h 367739"/>
              <a:gd name="connsiteX88" fmla="*/ 859359 w 914400"/>
              <a:gd name="connsiteY88" fmla="*/ 287091 h 367739"/>
              <a:gd name="connsiteX89" fmla="*/ 842234 w 914400"/>
              <a:gd name="connsiteY89" fmla="*/ 356463 h 367739"/>
              <a:gd name="connsiteX90" fmla="*/ 750277 w 914400"/>
              <a:gd name="connsiteY90" fmla="*/ 367739 h 367739"/>
              <a:gd name="connsiteX91" fmla="*/ 679839 w 914400"/>
              <a:gd name="connsiteY91" fmla="*/ 346769 h 367739"/>
              <a:gd name="connsiteX92" fmla="*/ 659225 w 914400"/>
              <a:gd name="connsiteY92" fmla="*/ 287091 h 367739"/>
              <a:gd name="connsiteX93" fmla="*/ 630597 w 914400"/>
              <a:gd name="connsiteY93" fmla="*/ 287091 h 367739"/>
              <a:gd name="connsiteX94" fmla="*/ 614442 w 914400"/>
              <a:gd name="connsiteY94" fmla="*/ 363474 h 367739"/>
              <a:gd name="connsiteX95" fmla="*/ 565006 w 914400"/>
              <a:gd name="connsiteY95" fmla="*/ 363474 h 367739"/>
              <a:gd name="connsiteX96" fmla="*/ 581355 w 914400"/>
              <a:gd name="connsiteY96" fmla="*/ 287091 h 367739"/>
              <a:gd name="connsiteX97" fmla="*/ 549658 w 914400"/>
              <a:gd name="connsiteY97" fmla="*/ 287091 h 367739"/>
              <a:gd name="connsiteX98" fmla="*/ 501192 w 914400"/>
              <a:gd name="connsiteY98" fmla="*/ 363474 h 367739"/>
              <a:gd name="connsiteX99" fmla="*/ 459026 w 914400"/>
              <a:gd name="connsiteY99" fmla="*/ 363474 h 367739"/>
              <a:gd name="connsiteX100" fmla="*/ 458412 w 914400"/>
              <a:gd name="connsiteY100" fmla="*/ 287091 h 367739"/>
              <a:gd name="connsiteX101" fmla="*/ 435795 w 914400"/>
              <a:gd name="connsiteY101" fmla="*/ 287091 h 367739"/>
              <a:gd name="connsiteX102" fmla="*/ 414469 w 914400"/>
              <a:gd name="connsiteY102" fmla="*/ 363474 h 367739"/>
              <a:gd name="connsiteX103" fmla="*/ 364193 w 914400"/>
              <a:gd name="connsiteY103" fmla="*/ 363474 h 367739"/>
              <a:gd name="connsiteX104" fmla="*/ 386197 w 914400"/>
              <a:gd name="connsiteY104" fmla="*/ 287091 h 367739"/>
              <a:gd name="connsiteX105" fmla="*/ 275177 w 914400"/>
              <a:gd name="connsiteY105" fmla="*/ 287091 h 367739"/>
              <a:gd name="connsiteX106" fmla="*/ 275177 w 914400"/>
              <a:gd name="connsiteY106" fmla="*/ 287317 h 367739"/>
              <a:gd name="connsiteX107" fmla="*/ 264256 w 914400"/>
              <a:gd name="connsiteY107" fmla="*/ 287317 h 367739"/>
              <a:gd name="connsiteX108" fmla="*/ 241444 w 914400"/>
              <a:gd name="connsiteY108" fmla="*/ 363700 h 367739"/>
              <a:gd name="connsiteX109" fmla="*/ 191556 w 914400"/>
              <a:gd name="connsiteY109" fmla="*/ 363700 h 367739"/>
              <a:gd name="connsiteX110" fmla="*/ 214691 w 914400"/>
              <a:gd name="connsiteY110" fmla="*/ 287091 h 367739"/>
              <a:gd name="connsiteX111" fmla="*/ 131361 w 914400"/>
              <a:gd name="connsiteY111" fmla="*/ 287091 h 367739"/>
              <a:gd name="connsiteX112" fmla="*/ 168228 w 914400"/>
              <a:gd name="connsiteY112" fmla="*/ 363700 h 367739"/>
              <a:gd name="connsiteX113" fmla="*/ 112814 w 914400"/>
              <a:gd name="connsiteY113" fmla="*/ 363700 h 367739"/>
              <a:gd name="connsiteX114" fmla="*/ 74978 w 914400"/>
              <a:gd name="connsiteY114" fmla="*/ 287091 h 367739"/>
              <a:gd name="connsiteX115" fmla="*/ 68516 w 914400"/>
              <a:gd name="connsiteY115" fmla="*/ 287091 h 367739"/>
              <a:gd name="connsiteX116" fmla="*/ 45607 w 914400"/>
              <a:gd name="connsiteY116" fmla="*/ 363700 h 367739"/>
              <a:gd name="connsiteX117" fmla="*/ 0 w 914400"/>
              <a:gd name="connsiteY117" fmla="*/ 363700 h 367739"/>
              <a:gd name="connsiteX118" fmla="*/ 0 w 914400"/>
              <a:gd name="connsiteY118" fmla="*/ 363540 h 367739"/>
              <a:gd name="connsiteX119" fmla="*/ 51908 w 914400"/>
              <a:gd name="connsiteY119" fmla="*/ 190707 h 367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14400" h="367739">
                <a:moveTo>
                  <a:pt x="718742" y="287058"/>
                </a:moveTo>
                <a:cubicBezTo>
                  <a:pt x="719129" y="316591"/>
                  <a:pt x="738096" y="329257"/>
                  <a:pt x="765334" y="329257"/>
                </a:cubicBezTo>
                <a:cubicBezTo>
                  <a:pt x="775997" y="329127"/>
                  <a:pt x="786627" y="328045"/>
                  <a:pt x="797096" y="326026"/>
                </a:cubicBezTo>
                <a:lnTo>
                  <a:pt x="806757" y="287058"/>
                </a:lnTo>
                <a:close/>
                <a:moveTo>
                  <a:pt x="597317" y="212258"/>
                </a:moveTo>
                <a:lnTo>
                  <a:pt x="554311" y="279918"/>
                </a:lnTo>
                <a:lnTo>
                  <a:pt x="582745" y="279918"/>
                </a:lnTo>
                <a:close/>
                <a:moveTo>
                  <a:pt x="457701" y="209318"/>
                </a:moveTo>
                <a:lnTo>
                  <a:pt x="437830" y="279918"/>
                </a:lnTo>
                <a:lnTo>
                  <a:pt x="458412" y="279918"/>
                </a:lnTo>
                <a:close/>
                <a:moveTo>
                  <a:pt x="290266" y="198365"/>
                </a:moveTo>
                <a:lnTo>
                  <a:pt x="283804" y="222404"/>
                </a:lnTo>
                <a:lnTo>
                  <a:pt x="281154" y="232679"/>
                </a:lnTo>
                <a:lnTo>
                  <a:pt x="275565" y="253326"/>
                </a:lnTo>
                <a:lnTo>
                  <a:pt x="287649" y="253326"/>
                </a:lnTo>
                <a:cubicBezTo>
                  <a:pt x="289684" y="253326"/>
                  <a:pt x="291849" y="253326"/>
                  <a:pt x="294596" y="253326"/>
                </a:cubicBezTo>
                <a:cubicBezTo>
                  <a:pt x="296696" y="253326"/>
                  <a:pt x="298538" y="253100"/>
                  <a:pt x="300379" y="253100"/>
                </a:cubicBezTo>
                <a:lnTo>
                  <a:pt x="300573" y="253196"/>
                </a:lnTo>
                <a:cubicBezTo>
                  <a:pt x="323772" y="251419"/>
                  <a:pt x="331010" y="242534"/>
                  <a:pt x="336697" y="225086"/>
                </a:cubicBezTo>
                <a:cubicBezTo>
                  <a:pt x="340025" y="214940"/>
                  <a:pt x="340380" y="208284"/>
                  <a:pt x="337569" y="204407"/>
                </a:cubicBezTo>
                <a:cubicBezTo>
                  <a:pt x="333886" y="199269"/>
                  <a:pt x="323966" y="198365"/>
                  <a:pt x="307811" y="198365"/>
                </a:cubicBezTo>
                <a:lnTo>
                  <a:pt x="298473" y="198365"/>
                </a:lnTo>
                <a:cubicBezTo>
                  <a:pt x="295824" y="198365"/>
                  <a:pt x="293077" y="198365"/>
                  <a:pt x="290266" y="198365"/>
                </a:cubicBezTo>
                <a:close/>
                <a:moveTo>
                  <a:pt x="499415" y="7180"/>
                </a:moveTo>
                <a:lnTo>
                  <a:pt x="499415" y="279982"/>
                </a:lnTo>
                <a:lnTo>
                  <a:pt x="504649" y="279982"/>
                </a:lnTo>
                <a:lnTo>
                  <a:pt x="576121" y="167314"/>
                </a:lnTo>
                <a:lnTo>
                  <a:pt x="655994" y="167314"/>
                </a:lnTo>
                <a:lnTo>
                  <a:pt x="632277" y="279918"/>
                </a:lnTo>
                <a:lnTo>
                  <a:pt x="660033" y="279918"/>
                </a:lnTo>
                <a:cubicBezTo>
                  <a:pt x="660604" y="274344"/>
                  <a:pt x="661609" y="268825"/>
                  <a:pt x="663038" y="263407"/>
                </a:cubicBezTo>
                <a:cubicBezTo>
                  <a:pt x="667894" y="243933"/>
                  <a:pt x="676437" y="225574"/>
                  <a:pt x="688208" y="209318"/>
                </a:cubicBezTo>
                <a:lnTo>
                  <a:pt x="688208" y="170222"/>
                </a:lnTo>
                <a:lnTo>
                  <a:pt x="688305" y="7180"/>
                </a:lnTo>
                <a:close/>
                <a:moveTo>
                  <a:pt x="279248" y="7180"/>
                </a:moveTo>
                <a:lnTo>
                  <a:pt x="279248" y="166991"/>
                </a:lnTo>
                <a:lnTo>
                  <a:pt x="316761" y="166991"/>
                </a:lnTo>
                <a:cubicBezTo>
                  <a:pt x="339411" y="166991"/>
                  <a:pt x="364937" y="165666"/>
                  <a:pt x="377667" y="180917"/>
                </a:cubicBezTo>
                <a:cubicBezTo>
                  <a:pt x="386197" y="191192"/>
                  <a:pt x="388071" y="204859"/>
                  <a:pt x="384129" y="225667"/>
                </a:cubicBezTo>
                <a:cubicBezTo>
                  <a:pt x="379315" y="252453"/>
                  <a:pt x="363773" y="270483"/>
                  <a:pt x="338248" y="279918"/>
                </a:cubicBezTo>
                <a:lnTo>
                  <a:pt x="388459" y="279918"/>
                </a:lnTo>
                <a:lnTo>
                  <a:pt x="420770" y="167055"/>
                </a:lnTo>
                <a:lnTo>
                  <a:pt x="468041" y="167055"/>
                </a:lnTo>
                <a:lnTo>
                  <a:pt x="467976" y="7180"/>
                </a:lnTo>
                <a:close/>
                <a:moveTo>
                  <a:pt x="59113" y="7180"/>
                </a:moveTo>
                <a:lnTo>
                  <a:pt x="59113" y="167314"/>
                </a:lnTo>
                <a:lnTo>
                  <a:pt x="104607" y="167314"/>
                </a:lnTo>
                <a:lnTo>
                  <a:pt x="80342" y="248091"/>
                </a:lnTo>
                <a:lnTo>
                  <a:pt x="155303" y="167314"/>
                </a:lnTo>
                <a:lnTo>
                  <a:pt x="216694" y="167314"/>
                </a:lnTo>
                <a:lnTo>
                  <a:pt x="120957" y="265249"/>
                </a:lnTo>
                <a:lnTo>
                  <a:pt x="127903" y="280015"/>
                </a:lnTo>
                <a:lnTo>
                  <a:pt x="217017" y="280015"/>
                </a:lnTo>
                <a:lnTo>
                  <a:pt x="218083" y="276784"/>
                </a:lnTo>
                <a:lnTo>
                  <a:pt x="245095" y="186862"/>
                </a:lnTo>
                <a:lnTo>
                  <a:pt x="248068" y="177169"/>
                </a:lnTo>
                <a:lnTo>
                  <a:pt x="247874" y="7180"/>
                </a:lnTo>
                <a:close/>
                <a:moveTo>
                  <a:pt x="719646" y="7083"/>
                </a:moveTo>
                <a:lnTo>
                  <a:pt x="719646" y="178332"/>
                </a:lnTo>
                <a:cubicBezTo>
                  <a:pt x="748015" y="159785"/>
                  <a:pt x="780876" y="156199"/>
                  <a:pt x="803332" y="156199"/>
                </a:cubicBezTo>
                <a:cubicBezTo>
                  <a:pt x="834932" y="156199"/>
                  <a:pt x="859262" y="162919"/>
                  <a:pt x="871379" y="179657"/>
                </a:cubicBezTo>
                <a:cubicBezTo>
                  <a:pt x="882073" y="195069"/>
                  <a:pt x="878325" y="211968"/>
                  <a:pt x="876096" y="221661"/>
                </a:cubicBezTo>
                <a:lnTo>
                  <a:pt x="819358" y="221661"/>
                </a:lnTo>
                <a:cubicBezTo>
                  <a:pt x="821426" y="200594"/>
                  <a:pt x="806272" y="194778"/>
                  <a:pt x="791054" y="194778"/>
                </a:cubicBezTo>
                <a:cubicBezTo>
                  <a:pt x="752507" y="194778"/>
                  <a:pt x="730244" y="228317"/>
                  <a:pt x="721843" y="262244"/>
                </a:cubicBezTo>
                <a:cubicBezTo>
                  <a:pt x="720971" y="266218"/>
                  <a:pt x="720357" y="269934"/>
                  <a:pt x="719646" y="273455"/>
                </a:cubicBezTo>
                <a:lnTo>
                  <a:pt x="719646" y="279918"/>
                </a:lnTo>
                <a:lnTo>
                  <a:pt x="765689" y="279918"/>
                </a:lnTo>
                <a:lnTo>
                  <a:pt x="773541" y="248479"/>
                </a:lnTo>
                <a:lnTo>
                  <a:pt x="868891" y="248479"/>
                </a:lnTo>
                <a:lnTo>
                  <a:pt x="861007" y="279918"/>
                </a:lnTo>
                <a:lnTo>
                  <a:pt x="908601" y="279918"/>
                </a:lnTo>
                <a:lnTo>
                  <a:pt x="908601" y="7083"/>
                </a:lnTo>
                <a:close/>
                <a:moveTo>
                  <a:pt x="51908" y="0"/>
                </a:moveTo>
                <a:lnTo>
                  <a:pt x="255209" y="0"/>
                </a:lnTo>
                <a:lnTo>
                  <a:pt x="255209" y="167314"/>
                </a:lnTo>
                <a:lnTo>
                  <a:pt x="272010" y="167314"/>
                </a:lnTo>
                <a:lnTo>
                  <a:pt x="272010" y="0"/>
                </a:lnTo>
                <a:lnTo>
                  <a:pt x="475375" y="0"/>
                </a:lnTo>
                <a:lnTo>
                  <a:pt x="475375" y="167055"/>
                </a:lnTo>
                <a:lnTo>
                  <a:pt x="492210" y="167055"/>
                </a:lnTo>
                <a:lnTo>
                  <a:pt x="492210" y="0"/>
                </a:lnTo>
                <a:lnTo>
                  <a:pt x="695510" y="0"/>
                </a:lnTo>
                <a:lnTo>
                  <a:pt x="695510" y="199786"/>
                </a:lnTo>
                <a:cubicBezTo>
                  <a:pt x="700641" y="193828"/>
                  <a:pt x="706318" y="188364"/>
                  <a:pt x="712473" y="183469"/>
                </a:cubicBezTo>
                <a:lnTo>
                  <a:pt x="712473" y="0"/>
                </a:lnTo>
                <a:lnTo>
                  <a:pt x="914400" y="0"/>
                </a:lnTo>
                <a:lnTo>
                  <a:pt x="914400" y="287091"/>
                </a:lnTo>
                <a:lnTo>
                  <a:pt x="859359" y="287091"/>
                </a:lnTo>
                <a:lnTo>
                  <a:pt x="842234" y="356463"/>
                </a:lnTo>
                <a:cubicBezTo>
                  <a:pt x="812088" y="363584"/>
                  <a:pt x="781250" y="367368"/>
                  <a:pt x="750277" y="367739"/>
                </a:cubicBezTo>
                <a:cubicBezTo>
                  <a:pt x="728499" y="367739"/>
                  <a:pt x="699032" y="364379"/>
                  <a:pt x="679839" y="346769"/>
                </a:cubicBezTo>
                <a:cubicBezTo>
                  <a:pt x="664136" y="332326"/>
                  <a:pt x="658094" y="310775"/>
                  <a:pt x="659225" y="287091"/>
                </a:cubicBezTo>
                <a:lnTo>
                  <a:pt x="630597" y="287091"/>
                </a:lnTo>
                <a:lnTo>
                  <a:pt x="614442" y="363474"/>
                </a:lnTo>
                <a:lnTo>
                  <a:pt x="565006" y="363474"/>
                </a:lnTo>
                <a:lnTo>
                  <a:pt x="581355" y="287091"/>
                </a:lnTo>
                <a:lnTo>
                  <a:pt x="549658" y="287091"/>
                </a:lnTo>
                <a:lnTo>
                  <a:pt x="501192" y="363474"/>
                </a:lnTo>
                <a:lnTo>
                  <a:pt x="459026" y="363474"/>
                </a:lnTo>
                <a:lnTo>
                  <a:pt x="458412" y="287091"/>
                </a:lnTo>
                <a:lnTo>
                  <a:pt x="435795" y="287091"/>
                </a:lnTo>
                <a:lnTo>
                  <a:pt x="414469" y="363474"/>
                </a:lnTo>
                <a:lnTo>
                  <a:pt x="364193" y="363474"/>
                </a:lnTo>
                <a:lnTo>
                  <a:pt x="386197" y="287091"/>
                </a:lnTo>
                <a:lnTo>
                  <a:pt x="275177" y="287091"/>
                </a:lnTo>
                <a:lnTo>
                  <a:pt x="275177" y="287317"/>
                </a:lnTo>
                <a:lnTo>
                  <a:pt x="264256" y="287317"/>
                </a:lnTo>
                <a:lnTo>
                  <a:pt x="241444" y="363700"/>
                </a:lnTo>
                <a:lnTo>
                  <a:pt x="191556" y="363700"/>
                </a:lnTo>
                <a:lnTo>
                  <a:pt x="214691" y="287091"/>
                </a:lnTo>
                <a:lnTo>
                  <a:pt x="131361" y="287091"/>
                </a:lnTo>
                <a:lnTo>
                  <a:pt x="168228" y="363700"/>
                </a:lnTo>
                <a:lnTo>
                  <a:pt x="112814" y="363700"/>
                </a:lnTo>
                <a:lnTo>
                  <a:pt x="74978" y="287091"/>
                </a:lnTo>
                <a:lnTo>
                  <a:pt x="68516" y="287091"/>
                </a:lnTo>
                <a:lnTo>
                  <a:pt x="45607" y="363700"/>
                </a:lnTo>
                <a:lnTo>
                  <a:pt x="0" y="363700"/>
                </a:lnTo>
                <a:lnTo>
                  <a:pt x="0" y="363540"/>
                </a:lnTo>
                <a:lnTo>
                  <a:pt x="51908" y="190707"/>
                </a:lnTo>
                <a:close/>
              </a:path>
            </a:pathLst>
          </a:custGeom>
          <a:solidFill>
            <a:schemeClr val="bg1"/>
          </a:solidFill>
        </p:spPr>
        <p:txBody>
          <a:bodyPr wrap="square">
            <a:noAutofit/>
          </a:bodyPr>
          <a:lstStyle>
            <a:lvl1pPr>
              <a:defRPr sz="800">
                <a:noFill/>
              </a:defRPr>
            </a:lvl1pPr>
          </a:lstStyle>
          <a:p>
            <a:pPr lvl="0"/>
            <a:r>
              <a:rPr lang="en-US"/>
              <a:t>Click to edit Master text styles</a:t>
            </a:r>
          </a:p>
        </p:txBody>
      </p:sp>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998476"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998476"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51953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1F2DE"/>
          </a:solidFill>
          <a:ln/>
        </p:spPr>
        <p:txBody>
          <a:bodyPr/>
          <a:lstStyle/>
          <a:p>
            <a:endParaRPr lang="en-GB"/>
          </a:p>
        </p:txBody>
      </p:sp>
      <p:sp>
        <p:nvSpPr>
          <p:cNvPr id="3" name="Shape 1"/>
          <p:cNvSpPr/>
          <p:nvPr/>
        </p:nvSpPr>
        <p:spPr>
          <a:xfrm>
            <a:off x="0" y="0"/>
            <a:ext cx="12192000" cy="6858000"/>
          </a:xfrm>
          <a:prstGeom prst="rect">
            <a:avLst/>
          </a:prstGeom>
          <a:solidFill>
            <a:srgbClr val="FCFBF8"/>
          </a:solidFill>
          <a:ln/>
        </p:spPr>
        <p:txBody>
          <a:bodyPr/>
          <a:lstStyle/>
          <a:p>
            <a:endParaRPr lang="en-GB"/>
          </a:p>
        </p:txBody>
      </p:sp>
    </p:spTree>
    <p:extLst>
      <p:ext uri="{BB962C8B-B14F-4D97-AF65-F5344CB8AC3E}">
        <p14:creationId xmlns:p14="http://schemas.microsoft.com/office/powerpoint/2010/main" val="1878822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6CF3-F7D5-6889-97A8-852EE2FE18B9}"/>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AAF990AD-448C-1285-1DFB-798265F843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1C4DF5-4228-8A7C-EE48-096565A266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65DD129A-EC0A-BAED-48F8-D7C63A690E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429BBA9-21F2-6A70-2338-EDA158EFDE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4E7BBAAA-E512-4465-0C70-F6021AE61CD9}"/>
              </a:ext>
            </a:extLst>
          </p:cNvPr>
          <p:cNvSpPr>
            <a:spLocks noGrp="1"/>
          </p:cNvSpPr>
          <p:nvPr>
            <p:ph type="dt" sz="half" idx="10"/>
          </p:nvPr>
        </p:nvSpPr>
        <p:spPr/>
        <p:txBody>
          <a:bodyPr/>
          <a:lstStyle/>
          <a:p>
            <a:endParaRPr lang="en-IN"/>
          </a:p>
        </p:txBody>
      </p:sp>
      <p:sp>
        <p:nvSpPr>
          <p:cNvPr id="8" name="Footer Placeholder 7">
            <a:extLst>
              <a:ext uri="{FF2B5EF4-FFF2-40B4-BE49-F238E27FC236}">
                <a16:creationId xmlns:a16="http://schemas.microsoft.com/office/drawing/2014/main" id="{7AC9B37D-06D3-0D6F-E2E5-AA246CD81465}"/>
              </a:ext>
            </a:extLst>
          </p:cNvPr>
          <p:cNvSpPr>
            <a:spLocks noGrp="1"/>
          </p:cNvSpPr>
          <p:nvPr>
            <p:ph type="ftr" sz="quarter" idx="11"/>
          </p:nvPr>
        </p:nvSpPr>
        <p:spPr/>
        <p:txBody>
          <a:bodyPr/>
          <a:lstStyle/>
          <a:p>
            <a:r>
              <a:rPr lang="en-US"/>
              <a:t>India’s Maritime Decarbonization</a:t>
            </a:r>
            <a:endParaRPr lang="en-IN"/>
          </a:p>
        </p:txBody>
      </p:sp>
      <p:sp>
        <p:nvSpPr>
          <p:cNvPr id="9" name="Slide Number Placeholder 8">
            <a:extLst>
              <a:ext uri="{FF2B5EF4-FFF2-40B4-BE49-F238E27FC236}">
                <a16:creationId xmlns:a16="http://schemas.microsoft.com/office/drawing/2014/main" id="{E344E4BC-FBA1-C9F9-18EF-14A97D9AD937}"/>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39464185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1F2DE"/>
          </a:solidFill>
          <a:ln/>
        </p:spPr>
        <p:txBody>
          <a:bodyPr/>
          <a:lstStyle/>
          <a:p>
            <a:endParaRPr lang="en-GB"/>
          </a:p>
        </p:txBody>
      </p:sp>
      <p:sp>
        <p:nvSpPr>
          <p:cNvPr id="3" name="Shape 1"/>
          <p:cNvSpPr/>
          <p:nvPr/>
        </p:nvSpPr>
        <p:spPr>
          <a:xfrm>
            <a:off x="0" y="0"/>
            <a:ext cx="12192000" cy="6858000"/>
          </a:xfrm>
          <a:prstGeom prst="rect">
            <a:avLst/>
          </a:prstGeom>
          <a:solidFill>
            <a:srgbClr val="FCFBF8"/>
          </a:solidFill>
          <a:ln/>
        </p:spPr>
        <p:txBody>
          <a:bodyPr/>
          <a:lstStyle/>
          <a:p>
            <a:endParaRPr lang="en-GB"/>
          </a:p>
        </p:txBody>
      </p:sp>
    </p:spTree>
    <p:extLst>
      <p:ext uri="{BB962C8B-B14F-4D97-AF65-F5344CB8AC3E}">
        <p14:creationId xmlns:p14="http://schemas.microsoft.com/office/powerpoint/2010/main" val="27753571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7C5EB-61BD-C7D0-C199-DAFE2F0725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9658394E-7CD8-EE17-CF38-215622BF97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5" name="Footer Placeholder 4">
            <a:extLst>
              <a:ext uri="{FF2B5EF4-FFF2-40B4-BE49-F238E27FC236}">
                <a16:creationId xmlns:a16="http://schemas.microsoft.com/office/drawing/2014/main" id="{7DF2077C-AB62-6E93-4A9C-F6187249E5BF}"/>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A6EB368B-6B72-EC12-DDFA-53879070A6B3}"/>
              </a:ext>
            </a:extLst>
          </p:cNvPr>
          <p:cNvSpPr>
            <a:spLocks noGrp="1"/>
          </p:cNvSpPr>
          <p:nvPr>
            <p:ph type="sldNum" sz="quarter" idx="12"/>
          </p:nvPr>
        </p:nvSpPr>
        <p:spPr/>
        <p:txBody>
          <a:bodyPr/>
          <a:lstStyle/>
          <a:p>
            <a:fld id="{887FB3E9-D005-4AC2-9474-885CF7811261}" type="slidenum">
              <a:rPr lang="en-IN" smtClean="0"/>
              <a:t>‹#›</a:t>
            </a:fld>
            <a:endParaRPr lang="en-IN"/>
          </a:p>
        </p:txBody>
      </p:sp>
      <p:sp>
        <p:nvSpPr>
          <p:cNvPr id="8" name="Date Placeholder 4">
            <a:extLst>
              <a:ext uri="{FF2B5EF4-FFF2-40B4-BE49-F238E27FC236}">
                <a16:creationId xmlns:a16="http://schemas.microsoft.com/office/drawing/2014/main" id="{371E96FF-91D7-90E8-D7A3-4C6E929AF8D0}"/>
              </a:ext>
            </a:extLst>
          </p:cNvPr>
          <p:cNvSpPr txBox="1">
            <a:spLocks/>
          </p:cNvSpPr>
          <p:nvPr userDrawn="1"/>
        </p:nvSpPr>
        <p:spPr>
          <a:xfrm>
            <a:off x="122274" y="638080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a:t>29</a:t>
            </a:r>
            <a:r>
              <a:rPr lang="en-US" b="0" baseline="30000"/>
              <a:t>th</a:t>
            </a:r>
            <a:r>
              <a:rPr lang="en-US" b="0"/>
              <a:t>  September 2025</a:t>
            </a:r>
            <a:endParaRPr lang="en-IN" b="0"/>
          </a:p>
        </p:txBody>
      </p:sp>
    </p:spTree>
    <p:extLst>
      <p:ext uri="{BB962C8B-B14F-4D97-AF65-F5344CB8AC3E}">
        <p14:creationId xmlns:p14="http://schemas.microsoft.com/office/powerpoint/2010/main" val="15775819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72945-2B68-1B54-D7D5-2F64D4EBEB3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CB119B1-DD47-E4C0-F613-3D3F2243C6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3D03D9-21F8-1B30-73B5-48A49B439379}"/>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A00E32F4-254F-0D29-DC7C-7660C1FFCB92}"/>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CF856BDB-30CC-9622-0E44-E85BED11A05F}"/>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11187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CED82-6B6B-697C-D27C-0EDB3CA33A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8DF712E-D3D1-D2A9-43F5-88E7BFBB648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69DEEE-3497-E99B-A96C-0CF620FD766A}"/>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67146595-5D55-0C5E-2B4E-9220085D1731}"/>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E8559714-F3AF-F49D-F35B-1DE8E4D86069}"/>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22843057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9A56-7B5A-F34D-F8AB-4DE265593AA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97C7DA9-9FDA-51D4-1802-FF700D0E9E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FBBA93A-598B-456A-1269-2BD2481CAC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BF03CE6D-CD3C-FCD7-7AD4-0C25B88E2DDC}"/>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FDFE98BC-F3DA-0D7C-0B24-2088E9F304DA}"/>
              </a:ext>
            </a:extLst>
          </p:cNvPr>
          <p:cNvSpPr>
            <a:spLocks noGrp="1"/>
          </p:cNvSpPr>
          <p:nvPr>
            <p:ph type="ftr" sz="quarter" idx="11"/>
          </p:nvPr>
        </p:nvSpPr>
        <p:spPr/>
        <p:txBody>
          <a:bodyPr/>
          <a:lstStyle/>
          <a:p>
            <a:r>
              <a:rPr lang="en-US"/>
              <a:t>India’s Maritime Decarbonization</a:t>
            </a:r>
            <a:endParaRPr lang="en-IN"/>
          </a:p>
        </p:txBody>
      </p:sp>
      <p:sp>
        <p:nvSpPr>
          <p:cNvPr id="7" name="Slide Number Placeholder 6">
            <a:extLst>
              <a:ext uri="{FF2B5EF4-FFF2-40B4-BE49-F238E27FC236}">
                <a16:creationId xmlns:a16="http://schemas.microsoft.com/office/drawing/2014/main" id="{EC284F02-EABE-FD38-D545-BB42EAC87D9C}"/>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3564768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6CF3-F7D5-6889-97A8-852EE2FE18B9}"/>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AAF990AD-448C-1285-1DFB-798265F843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1C4DF5-4228-8A7C-EE48-096565A266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65DD129A-EC0A-BAED-48F8-D7C63A690E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429BBA9-21F2-6A70-2338-EDA158EFDE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4E7BBAAA-E512-4465-0C70-F6021AE61CD9}"/>
              </a:ext>
            </a:extLst>
          </p:cNvPr>
          <p:cNvSpPr>
            <a:spLocks noGrp="1"/>
          </p:cNvSpPr>
          <p:nvPr>
            <p:ph type="dt" sz="half" idx="10"/>
          </p:nvPr>
        </p:nvSpPr>
        <p:spPr/>
        <p:txBody>
          <a:bodyPr/>
          <a:lstStyle/>
          <a:p>
            <a:endParaRPr lang="en-IN"/>
          </a:p>
        </p:txBody>
      </p:sp>
      <p:sp>
        <p:nvSpPr>
          <p:cNvPr id="8" name="Footer Placeholder 7">
            <a:extLst>
              <a:ext uri="{FF2B5EF4-FFF2-40B4-BE49-F238E27FC236}">
                <a16:creationId xmlns:a16="http://schemas.microsoft.com/office/drawing/2014/main" id="{7AC9B37D-06D3-0D6F-E2E5-AA246CD81465}"/>
              </a:ext>
            </a:extLst>
          </p:cNvPr>
          <p:cNvSpPr>
            <a:spLocks noGrp="1"/>
          </p:cNvSpPr>
          <p:nvPr>
            <p:ph type="ftr" sz="quarter" idx="11"/>
          </p:nvPr>
        </p:nvSpPr>
        <p:spPr/>
        <p:txBody>
          <a:bodyPr/>
          <a:lstStyle/>
          <a:p>
            <a:r>
              <a:rPr lang="en-US"/>
              <a:t>India’s Maritime Decarbonization</a:t>
            </a:r>
            <a:endParaRPr lang="en-IN"/>
          </a:p>
        </p:txBody>
      </p:sp>
      <p:sp>
        <p:nvSpPr>
          <p:cNvPr id="9" name="Slide Number Placeholder 8">
            <a:extLst>
              <a:ext uri="{FF2B5EF4-FFF2-40B4-BE49-F238E27FC236}">
                <a16:creationId xmlns:a16="http://schemas.microsoft.com/office/drawing/2014/main" id="{E344E4BC-FBA1-C9F9-18EF-14A97D9AD937}"/>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21174805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B46E4-2D89-DC00-E15F-60086030E55E}"/>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EBD7CEE9-93D7-402E-ABFF-33C66EF63B66}"/>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4D2592BE-55BC-52C8-EF2D-4E2C799D7287}"/>
              </a:ext>
            </a:extLst>
          </p:cNvPr>
          <p:cNvSpPr>
            <a:spLocks noGrp="1"/>
          </p:cNvSpPr>
          <p:nvPr>
            <p:ph type="ftr" sz="quarter" idx="11"/>
          </p:nvPr>
        </p:nvSpPr>
        <p:spPr/>
        <p:txBody>
          <a:bodyPr/>
          <a:lstStyle/>
          <a:p>
            <a:r>
              <a:rPr lang="en-US"/>
              <a:t>India’s Maritime Decarbonization</a:t>
            </a:r>
            <a:endParaRPr lang="en-IN"/>
          </a:p>
        </p:txBody>
      </p:sp>
      <p:sp>
        <p:nvSpPr>
          <p:cNvPr id="5" name="Slide Number Placeholder 4">
            <a:extLst>
              <a:ext uri="{FF2B5EF4-FFF2-40B4-BE49-F238E27FC236}">
                <a16:creationId xmlns:a16="http://schemas.microsoft.com/office/drawing/2014/main" id="{B92A2F5A-37B4-E3F8-29F4-B1F2272C9D33}"/>
              </a:ext>
            </a:extLst>
          </p:cNvPr>
          <p:cNvSpPr>
            <a:spLocks noGrp="1"/>
          </p:cNvSpPr>
          <p:nvPr>
            <p:ph type="sldNum" sz="quarter" idx="12"/>
          </p:nvPr>
        </p:nvSpPr>
        <p:spPr/>
        <p:txBody>
          <a:bodyPr/>
          <a:lstStyle/>
          <a:p>
            <a:fld id="{887FB3E9-D005-4AC2-9474-885CF7811261}" type="slidenum">
              <a:rPr lang="en-IN" smtClean="0"/>
              <a:t>‹#›</a:t>
            </a:fld>
            <a:endParaRPr lang="en-IN"/>
          </a:p>
        </p:txBody>
      </p:sp>
      <p:pic>
        <p:nvPicPr>
          <p:cNvPr id="6" name="Picture 2" descr="Directorate General of Shipping - Exit Exam">
            <a:extLst>
              <a:ext uri="{FF2B5EF4-FFF2-40B4-BE49-F238E27FC236}">
                <a16:creationId xmlns:a16="http://schemas.microsoft.com/office/drawing/2014/main" id="{DF34CB72-32E8-42E1-D9F2-A4C33BF2316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71255" y="103945"/>
            <a:ext cx="783160" cy="9345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496167F-602E-F8BC-8FB0-E36FA8396698}"/>
              </a:ext>
            </a:extLst>
          </p:cNvPr>
          <p:cNvPicPr>
            <a:picLocks noChangeAspect="1"/>
          </p:cNvPicPr>
          <p:nvPr userDrawn="1"/>
        </p:nvPicPr>
        <p:blipFill>
          <a:blip r:embed="rId3">
            <a:extLst>
              <a:ext uri="{28A0092B-C50C-407E-A947-70E740481C1C}">
                <a14:useLocalDpi xmlns:a14="http://schemas.microsoft.com/office/drawing/2010/main" val="0"/>
              </a:ext>
            </a:extLst>
          </a:blip>
          <a:srcRect l="3768" r="3612" b="1911"/>
          <a:stretch>
            <a:fillRect/>
          </a:stretch>
        </p:blipFill>
        <p:spPr>
          <a:xfrm>
            <a:off x="202956" y="157438"/>
            <a:ext cx="817790" cy="827587"/>
          </a:xfrm>
          <a:prstGeom prst="ellipse">
            <a:avLst/>
          </a:prstGeom>
        </p:spPr>
      </p:pic>
      <p:sp>
        <p:nvSpPr>
          <p:cNvPr id="8" name="Date Placeholder 4">
            <a:extLst>
              <a:ext uri="{FF2B5EF4-FFF2-40B4-BE49-F238E27FC236}">
                <a16:creationId xmlns:a16="http://schemas.microsoft.com/office/drawing/2014/main" id="{3F1C8EE1-8B54-863B-706D-3480BDD89343}"/>
              </a:ext>
            </a:extLst>
          </p:cNvPr>
          <p:cNvSpPr txBox="1">
            <a:spLocks/>
          </p:cNvSpPr>
          <p:nvPr userDrawn="1"/>
        </p:nvSpPr>
        <p:spPr>
          <a:xfrm>
            <a:off x="122274" y="641014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a:t>29</a:t>
            </a:r>
            <a:r>
              <a:rPr lang="en-US" b="0" baseline="30000"/>
              <a:t>th</a:t>
            </a:r>
            <a:r>
              <a:rPr lang="en-US" b="0"/>
              <a:t>  September 2025</a:t>
            </a:r>
            <a:endParaRPr lang="en-IN" b="0"/>
          </a:p>
        </p:txBody>
      </p:sp>
    </p:spTree>
    <p:extLst>
      <p:ext uri="{BB962C8B-B14F-4D97-AF65-F5344CB8AC3E}">
        <p14:creationId xmlns:p14="http://schemas.microsoft.com/office/powerpoint/2010/main" val="254794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B1E5AB-9591-25B7-CDB5-E60ED83162F6}"/>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EE0451CD-895C-1852-2822-D0EC227A6145}"/>
              </a:ext>
            </a:extLst>
          </p:cNvPr>
          <p:cNvSpPr>
            <a:spLocks noGrp="1"/>
          </p:cNvSpPr>
          <p:nvPr>
            <p:ph type="ftr" sz="quarter" idx="11"/>
          </p:nvPr>
        </p:nvSpPr>
        <p:spPr/>
        <p:txBody>
          <a:bodyPr/>
          <a:lstStyle/>
          <a:p>
            <a:r>
              <a:rPr lang="en-US"/>
              <a:t>India’s Maritime Decarbonization</a:t>
            </a:r>
            <a:endParaRPr lang="en-IN"/>
          </a:p>
        </p:txBody>
      </p:sp>
      <p:sp>
        <p:nvSpPr>
          <p:cNvPr id="4" name="Slide Number Placeholder 3">
            <a:extLst>
              <a:ext uri="{FF2B5EF4-FFF2-40B4-BE49-F238E27FC236}">
                <a16:creationId xmlns:a16="http://schemas.microsoft.com/office/drawing/2014/main" id="{E0A5B44F-82BB-BFE8-CACF-8E812C4EEE0F}"/>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490523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6240B-24D8-E479-94A1-4F576C73E3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16E28935-5917-4755-388A-7FD2F83914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27DC790-CC23-830D-30D8-B254592B3F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A53288-CFD8-9DFD-6627-E3357E478A8E}"/>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657F8812-28A3-1EE1-1403-8D59D013E0F5}"/>
              </a:ext>
            </a:extLst>
          </p:cNvPr>
          <p:cNvSpPr>
            <a:spLocks noGrp="1"/>
          </p:cNvSpPr>
          <p:nvPr>
            <p:ph type="ftr" sz="quarter" idx="11"/>
          </p:nvPr>
        </p:nvSpPr>
        <p:spPr/>
        <p:txBody>
          <a:bodyPr/>
          <a:lstStyle/>
          <a:p>
            <a:r>
              <a:rPr lang="en-US"/>
              <a:t>India’s Maritime Decarbonization</a:t>
            </a:r>
            <a:endParaRPr lang="en-IN"/>
          </a:p>
        </p:txBody>
      </p:sp>
      <p:sp>
        <p:nvSpPr>
          <p:cNvPr id="7" name="Slide Number Placeholder 6">
            <a:extLst>
              <a:ext uri="{FF2B5EF4-FFF2-40B4-BE49-F238E27FC236}">
                <a16:creationId xmlns:a16="http://schemas.microsoft.com/office/drawing/2014/main" id="{A8A21202-87CF-EF5F-D874-56F2D4134234}"/>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2449592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BFEEE9-0A5C-8908-3BB3-E29B819168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2344C8E-82BA-2514-4FF5-75ACEA42CF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109892E2-B0D8-884C-474D-ACC99DFF1E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D5C083-40DD-0CC1-870A-7516255E5A97}"/>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A9D6351D-EF66-F69E-EB75-C44623998524}"/>
              </a:ext>
            </a:extLst>
          </p:cNvPr>
          <p:cNvSpPr>
            <a:spLocks noGrp="1"/>
          </p:cNvSpPr>
          <p:nvPr>
            <p:ph type="ftr" sz="quarter" idx="11"/>
          </p:nvPr>
        </p:nvSpPr>
        <p:spPr/>
        <p:txBody>
          <a:bodyPr/>
          <a:lstStyle/>
          <a:p>
            <a:r>
              <a:rPr lang="en-US"/>
              <a:t>India’s Maritime Decarbonization</a:t>
            </a:r>
            <a:endParaRPr lang="en-IN"/>
          </a:p>
        </p:txBody>
      </p:sp>
      <p:sp>
        <p:nvSpPr>
          <p:cNvPr id="7" name="Slide Number Placeholder 6">
            <a:extLst>
              <a:ext uri="{FF2B5EF4-FFF2-40B4-BE49-F238E27FC236}">
                <a16:creationId xmlns:a16="http://schemas.microsoft.com/office/drawing/2014/main" id="{E508702F-6D82-149A-C382-15D6587638CF}"/>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775934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B46E4-2D89-DC00-E15F-60086030E55E}"/>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EBD7CEE9-93D7-402E-ABFF-33C66EF63B66}"/>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4D2592BE-55BC-52C8-EF2D-4E2C799D7287}"/>
              </a:ext>
            </a:extLst>
          </p:cNvPr>
          <p:cNvSpPr>
            <a:spLocks noGrp="1"/>
          </p:cNvSpPr>
          <p:nvPr>
            <p:ph type="ftr" sz="quarter" idx="11"/>
          </p:nvPr>
        </p:nvSpPr>
        <p:spPr/>
        <p:txBody>
          <a:bodyPr/>
          <a:lstStyle/>
          <a:p>
            <a:r>
              <a:rPr lang="en-US"/>
              <a:t>India’s Maritime Decarbonization</a:t>
            </a:r>
            <a:endParaRPr lang="en-IN"/>
          </a:p>
        </p:txBody>
      </p:sp>
      <p:sp>
        <p:nvSpPr>
          <p:cNvPr id="5" name="Slide Number Placeholder 4">
            <a:extLst>
              <a:ext uri="{FF2B5EF4-FFF2-40B4-BE49-F238E27FC236}">
                <a16:creationId xmlns:a16="http://schemas.microsoft.com/office/drawing/2014/main" id="{B92A2F5A-37B4-E3F8-29F4-B1F2272C9D33}"/>
              </a:ext>
            </a:extLst>
          </p:cNvPr>
          <p:cNvSpPr>
            <a:spLocks noGrp="1"/>
          </p:cNvSpPr>
          <p:nvPr>
            <p:ph type="sldNum" sz="quarter" idx="12"/>
          </p:nvPr>
        </p:nvSpPr>
        <p:spPr/>
        <p:txBody>
          <a:bodyPr/>
          <a:lstStyle/>
          <a:p>
            <a:fld id="{887FB3E9-D005-4AC2-9474-885CF7811261}" type="slidenum">
              <a:rPr lang="en-IN" smtClean="0"/>
              <a:t>‹#›</a:t>
            </a:fld>
            <a:endParaRPr lang="en-IN"/>
          </a:p>
        </p:txBody>
      </p:sp>
      <p:pic>
        <p:nvPicPr>
          <p:cNvPr id="6" name="Picture 2" descr="Directorate General of Shipping - Exit Exam">
            <a:extLst>
              <a:ext uri="{FF2B5EF4-FFF2-40B4-BE49-F238E27FC236}">
                <a16:creationId xmlns:a16="http://schemas.microsoft.com/office/drawing/2014/main" id="{DF34CB72-32E8-42E1-D9F2-A4C33BF2316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71255" y="103945"/>
            <a:ext cx="783160" cy="9345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496167F-602E-F8BC-8FB0-E36FA8396698}"/>
              </a:ext>
            </a:extLst>
          </p:cNvPr>
          <p:cNvPicPr>
            <a:picLocks noChangeAspect="1"/>
          </p:cNvPicPr>
          <p:nvPr userDrawn="1"/>
        </p:nvPicPr>
        <p:blipFill>
          <a:blip r:embed="rId3">
            <a:extLst>
              <a:ext uri="{28A0092B-C50C-407E-A947-70E740481C1C}">
                <a14:useLocalDpi xmlns:a14="http://schemas.microsoft.com/office/drawing/2010/main" val="0"/>
              </a:ext>
            </a:extLst>
          </a:blip>
          <a:srcRect l="3768" r="3612" b="1911"/>
          <a:stretch>
            <a:fillRect/>
          </a:stretch>
        </p:blipFill>
        <p:spPr>
          <a:xfrm>
            <a:off x="202956" y="157438"/>
            <a:ext cx="817790" cy="827587"/>
          </a:xfrm>
          <a:prstGeom prst="ellipse">
            <a:avLst/>
          </a:prstGeom>
        </p:spPr>
      </p:pic>
      <p:sp>
        <p:nvSpPr>
          <p:cNvPr id="9" name="Date Placeholder 4">
            <a:extLst>
              <a:ext uri="{FF2B5EF4-FFF2-40B4-BE49-F238E27FC236}">
                <a16:creationId xmlns:a16="http://schemas.microsoft.com/office/drawing/2014/main" id="{3CEB81DD-6FDF-6CCD-102A-F11FFDBCE2DA}"/>
              </a:ext>
            </a:extLst>
          </p:cNvPr>
          <p:cNvSpPr txBox="1">
            <a:spLocks/>
          </p:cNvSpPr>
          <p:nvPr userDrawn="1"/>
        </p:nvSpPr>
        <p:spPr>
          <a:xfrm>
            <a:off x="122274" y="638569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a:t>27</a:t>
            </a:r>
            <a:r>
              <a:rPr lang="en-US" b="0" baseline="30000"/>
              <a:t>th</a:t>
            </a:r>
            <a:r>
              <a:rPr lang="en-US" b="0"/>
              <a:t>  October 2025</a:t>
            </a:r>
            <a:endParaRPr lang="en-IN" b="0"/>
          </a:p>
        </p:txBody>
      </p:sp>
    </p:spTree>
    <p:extLst>
      <p:ext uri="{BB962C8B-B14F-4D97-AF65-F5344CB8AC3E}">
        <p14:creationId xmlns:p14="http://schemas.microsoft.com/office/powerpoint/2010/main" val="4194783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30DEE-5DA6-FAAD-04F2-DE4937F2C93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6B2ABF7-CF76-5847-82D3-E20A8E5AB2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9381F01-3387-1F0F-F773-7CE8215B1C42}"/>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30B12371-8A50-3A61-AADB-555766CB3E48}"/>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758078FF-9266-88D5-5DE2-55E91F5DEB41}"/>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7072870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077DBB8-B4B8-241D-C303-09CA52657EA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014105F-7770-CB46-D38D-18CED3DF808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53CB237-66FF-6271-7AC3-27C01DFEB38F}"/>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B0B5E811-5210-EF9E-EFB7-106A5AABD4AC}"/>
              </a:ext>
            </a:extLst>
          </p:cNvPr>
          <p:cNvSpPr>
            <a:spLocks noGrp="1"/>
          </p:cNvSpPr>
          <p:nvPr>
            <p:ph type="ftr" sz="quarter" idx="11"/>
          </p:nvPr>
        </p:nvSpPr>
        <p:spPr/>
        <p:txBody>
          <a:body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321C9069-9E48-F3DA-8E1C-23BF7FE16DFB}"/>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8575260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mplat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E6C631F3-1CF5-2C2E-770E-FD967CE0C05B}"/>
              </a:ext>
            </a:extLst>
          </p:cNvPr>
          <p:cNvSpPr>
            <a:spLocks noGrp="1"/>
          </p:cNvSpPr>
          <p:nvPr>
            <p:ph type="title" hasCustomPrompt="1"/>
          </p:nvPr>
        </p:nvSpPr>
        <p:spPr>
          <a:xfrm>
            <a:off x="2017059" y="176357"/>
            <a:ext cx="8982635" cy="740660"/>
          </a:xfrm>
          <a:prstGeom prst="rect">
            <a:avLst/>
          </a:prstGeom>
        </p:spPr>
        <p:txBody>
          <a:bodyPr vert="horz" lIns="91440" tIns="45720" rIns="91440" bIns="45720" rtlCol="0" anchor="ctr">
            <a:normAutofit/>
          </a:bodyPr>
          <a:lstStyle>
            <a:lvl1pPr algn="ctr">
              <a:defRPr b="1">
                <a:solidFill>
                  <a:schemeClr val="accent1"/>
                </a:solidFill>
              </a:defRPr>
            </a:lvl1pPr>
          </a:lstStyle>
          <a:p>
            <a:r>
              <a:rPr lang="en-US"/>
              <a:t>Click to edit title</a:t>
            </a:r>
            <a:endParaRPr lang="en-IN"/>
          </a:p>
        </p:txBody>
      </p:sp>
      <p:sp>
        <p:nvSpPr>
          <p:cNvPr id="17" name="Footer Placeholder 16">
            <a:extLst>
              <a:ext uri="{FF2B5EF4-FFF2-40B4-BE49-F238E27FC236}">
                <a16:creationId xmlns:a16="http://schemas.microsoft.com/office/drawing/2014/main" id="{B3241BB4-F690-A8C1-6759-41CEC4D88D66}"/>
              </a:ext>
            </a:extLst>
          </p:cNvPr>
          <p:cNvSpPr>
            <a:spLocks noGrp="1"/>
          </p:cNvSpPr>
          <p:nvPr>
            <p:ph type="ftr" sz="quarter" idx="11"/>
          </p:nvPr>
        </p:nvSpPr>
        <p:spPr/>
        <p:txBody>
          <a:bodyPr/>
          <a:lstStyle/>
          <a:p>
            <a:r>
              <a:rPr lang="en-US"/>
              <a:t>India’s Maritime Decarbonization</a:t>
            </a:r>
            <a:endParaRPr lang="en-IN" b="0"/>
          </a:p>
        </p:txBody>
      </p:sp>
      <p:sp>
        <p:nvSpPr>
          <p:cNvPr id="18" name="Slide Number Placeholder 17">
            <a:extLst>
              <a:ext uri="{FF2B5EF4-FFF2-40B4-BE49-F238E27FC236}">
                <a16:creationId xmlns:a16="http://schemas.microsoft.com/office/drawing/2014/main" id="{AB5AF714-D3C7-B1EA-B65C-B499FB80BFED}"/>
              </a:ext>
            </a:extLst>
          </p:cNvPr>
          <p:cNvSpPr>
            <a:spLocks noGrp="1"/>
          </p:cNvSpPr>
          <p:nvPr>
            <p:ph type="sldNum" sz="quarter" idx="12"/>
          </p:nvPr>
        </p:nvSpPr>
        <p:spPr/>
        <p:txBody>
          <a:bodyPr/>
          <a:lstStyle/>
          <a:p>
            <a:r>
              <a:rPr lang="en-IN"/>
              <a:t>Slide </a:t>
            </a:r>
            <a:fld id="{61F59DBB-61E3-46AB-854D-9BC0E6F19EAE}" type="slidenum">
              <a:rPr lang="en-IN" smtClean="0"/>
              <a:pPr/>
              <a:t>‹#›</a:t>
            </a:fld>
            <a:r>
              <a:rPr lang="en-IN"/>
              <a:t> of 27</a:t>
            </a:r>
          </a:p>
        </p:txBody>
      </p:sp>
      <p:pic>
        <p:nvPicPr>
          <p:cNvPr id="2" name="Picture 2" descr="Directorate General of Shipping - Exit Exam">
            <a:extLst>
              <a:ext uri="{FF2B5EF4-FFF2-40B4-BE49-F238E27FC236}">
                <a16:creationId xmlns:a16="http://schemas.microsoft.com/office/drawing/2014/main" id="{D7778C40-829B-AC9C-13D9-14AC556C0E4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71255" y="103945"/>
            <a:ext cx="783160" cy="93457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6541FDD-6160-7837-F2C7-915308DACF38}"/>
              </a:ext>
            </a:extLst>
          </p:cNvPr>
          <p:cNvPicPr>
            <a:picLocks noChangeAspect="1"/>
          </p:cNvPicPr>
          <p:nvPr userDrawn="1"/>
        </p:nvPicPr>
        <p:blipFill>
          <a:blip r:embed="rId3">
            <a:extLst>
              <a:ext uri="{28A0092B-C50C-407E-A947-70E740481C1C}">
                <a14:useLocalDpi xmlns:a14="http://schemas.microsoft.com/office/drawing/2010/main" val="0"/>
              </a:ext>
            </a:extLst>
          </a:blip>
          <a:srcRect l="3768" r="3612" b="1911"/>
          <a:stretch>
            <a:fillRect/>
          </a:stretch>
        </p:blipFill>
        <p:spPr>
          <a:xfrm>
            <a:off x="202956" y="157438"/>
            <a:ext cx="817790" cy="827587"/>
          </a:xfrm>
          <a:prstGeom prst="ellipse">
            <a:avLst/>
          </a:prstGeom>
        </p:spPr>
      </p:pic>
      <p:sp>
        <p:nvSpPr>
          <p:cNvPr id="4" name="Date Placeholder 4">
            <a:extLst>
              <a:ext uri="{FF2B5EF4-FFF2-40B4-BE49-F238E27FC236}">
                <a16:creationId xmlns:a16="http://schemas.microsoft.com/office/drawing/2014/main" id="{9A2D5409-BB0D-D47B-2DAC-B35A188F307A}"/>
              </a:ext>
            </a:extLst>
          </p:cNvPr>
          <p:cNvSpPr txBox="1">
            <a:spLocks/>
          </p:cNvSpPr>
          <p:nvPr userDrawn="1"/>
        </p:nvSpPr>
        <p:spPr>
          <a:xfrm>
            <a:off x="122274" y="638569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a:t>29</a:t>
            </a:r>
            <a:r>
              <a:rPr lang="en-US" b="0" baseline="30000"/>
              <a:t>th</a:t>
            </a:r>
            <a:r>
              <a:rPr lang="en-US" b="0"/>
              <a:t>  September 2025</a:t>
            </a:r>
            <a:endParaRPr lang="en-IN" b="0"/>
          </a:p>
        </p:txBody>
      </p:sp>
    </p:spTree>
    <p:extLst>
      <p:ext uri="{BB962C8B-B14F-4D97-AF65-F5344CB8AC3E}">
        <p14:creationId xmlns:p14="http://schemas.microsoft.com/office/powerpoint/2010/main" val="11169722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B1E5AB-9591-25B7-CDB5-E60ED83162F6}"/>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EE0451CD-895C-1852-2822-D0EC227A6145}"/>
              </a:ext>
            </a:extLst>
          </p:cNvPr>
          <p:cNvSpPr>
            <a:spLocks noGrp="1"/>
          </p:cNvSpPr>
          <p:nvPr>
            <p:ph type="ftr" sz="quarter" idx="11"/>
          </p:nvPr>
        </p:nvSpPr>
        <p:spPr/>
        <p:txBody>
          <a:bodyPr/>
          <a:lstStyle/>
          <a:p>
            <a:r>
              <a:rPr lang="en-US"/>
              <a:t>India’s Maritime Decarbonization</a:t>
            </a:r>
            <a:endParaRPr lang="en-IN"/>
          </a:p>
        </p:txBody>
      </p:sp>
      <p:sp>
        <p:nvSpPr>
          <p:cNvPr id="4" name="Slide Number Placeholder 3">
            <a:extLst>
              <a:ext uri="{FF2B5EF4-FFF2-40B4-BE49-F238E27FC236}">
                <a16:creationId xmlns:a16="http://schemas.microsoft.com/office/drawing/2014/main" id="{E0A5B44F-82BB-BFE8-CACF-8E812C4EEE0F}"/>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3968713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6240B-24D8-E479-94A1-4F576C73E3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16E28935-5917-4755-388A-7FD2F83914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27DC790-CC23-830D-30D8-B254592B3F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A53288-CFD8-9DFD-6627-E3357E478A8E}"/>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657F8812-28A3-1EE1-1403-8D59D013E0F5}"/>
              </a:ext>
            </a:extLst>
          </p:cNvPr>
          <p:cNvSpPr>
            <a:spLocks noGrp="1"/>
          </p:cNvSpPr>
          <p:nvPr>
            <p:ph type="ftr" sz="quarter" idx="11"/>
          </p:nvPr>
        </p:nvSpPr>
        <p:spPr/>
        <p:txBody>
          <a:bodyPr/>
          <a:lstStyle/>
          <a:p>
            <a:r>
              <a:rPr lang="en-US"/>
              <a:t>India’s Maritime Decarbonization</a:t>
            </a:r>
            <a:endParaRPr lang="en-IN"/>
          </a:p>
        </p:txBody>
      </p:sp>
      <p:sp>
        <p:nvSpPr>
          <p:cNvPr id="7" name="Slide Number Placeholder 6">
            <a:extLst>
              <a:ext uri="{FF2B5EF4-FFF2-40B4-BE49-F238E27FC236}">
                <a16:creationId xmlns:a16="http://schemas.microsoft.com/office/drawing/2014/main" id="{A8A21202-87CF-EF5F-D874-56F2D4134234}"/>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19988826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BFEEE9-0A5C-8908-3BB3-E29B819168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2344C8E-82BA-2514-4FF5-75ACEA42CF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109892E2-B0D8-884C-474D-ACC99DFF1E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D5C083-40DD-0CC1-870A-7516255E5A97}"/>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A9D6351D-EF66-F69E-EB75-C44623998524}"/>
              </a:ext>
            </a:extLst>
          </p:cNvPr>
          <p:cNvSpPr>
            <a:spLocks noGrp="1"/>
          </p:cNvSpPr>
          <p:nvPr>
            <p:ph type="ftr" sz="quarter" idx="11"/>
          </p:nvPr>
        </p:nvSpPr>
        <p:spPr/>
        <p:txBody>
          <a:bodyPr/>
          <a:lstStyle/>
          <a:p>
            <a:r>
              <a:rPr lang="en-US"/>
              <a:t>India’s Maritime Decarbonization</a:t>
            </a:r>
            <a:endParaRPr lang="en-IN"/>
          </a:p>
        </p:txBody>
      </p:sp>
      <p:sp>
        <p:nvSpPr>
          <p:cNvPr id="7" name="Slide Number Placeholder 6">
            <a:extLst>
              <a:ext uri="{FF2B5EF4-FFF2-40B4-BE49-F238E27FC236}">
                <a16:creationId xmlns:a16="http://schemas.microsoft.com/office/drawing/2014/main" id="{E508702F-6D82-149A-C382-15D6587638CF}"/>
              </a:ext>
            </a:extLst>
          </p:cNvPr>
          <p:cNvSpPr>
            <a:spLocks noGrp="1"/>
          </p:cNvSpPr>
          <p:nvPr>
            <p:ph type="sldNum" sz="quarter" idx="12"/>
          </p:nvPr>
        </p:nvSpPr>
        <p:spPr/>
        <p:txBody>
          <a:bodyPr/>
          <a:lstStyle/>
          <a:p>
            <a:fld id="{887FB3E9-D005-4AC2-9474-885CF7811261}" type="slidenum">
              <a:rPr lang="en-IN" smtClean="0"/>
              <a:t>‹#›</a:t>
            </a:fld>
            <a:endParaRPr lang="en-IN"/>
          </a:p>
        </p:txBody>
      </p:sp>
    </p:spTree>
    <p:extLst>
      <p:ext uri="{BB962C8B-B14F-4D97-AF65-F5344CB8AC3E}">
        <p14:creationId xmlns:p14="http://schemas.microsoft.com/office/powerpoint/2010/main" val="2885054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theme" Target="../theme/theme2.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image" Target="../media/image1.emf"/><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tags" Target="../tags/tag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image" Target="../media/image4.png"/><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6" Type="http://schemas.openxmlformats.org/officeDocument/2006/relationships/image" Target="../media/image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oleObject" Target="../embeddings/oleObject3.bin"/><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442A82E-EEF7-F73A-AD7A-2EA819BCF191}"/>
              </a:ext>
            </a:extLst>
          </p:cNvPr>
          <p:cNvGraphicFramePr>
            <a:graphicFrameLocks noChangeAspect="1"/>
          </p:cNvGraphicFramePr>
          <p:nvPr userDrawn="1">
            <p:custDataLst>
              <p:tags r:id="rId14"/>
            </p:custDataLst>
            <p:extLst>
              <p:ext uri="{D42A27DB-BD31-4B8C-83A1-F6EECF244321}">
                <p14:modId xmlns:p14="http://schemas.microsoft.com/office/powerpoint/2010/main" val="85181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10" name="think-cell data - do not delete" hidden="1">
                        <a:extLst>
                          <a:ext uri="{FF2B5EF4-FFF2-40B4-BE49-F238E27FC236}">
                            <a16:creationId xmlns:a16="http://schemas.microsoft.com/office/drawing/2014/main" id="{2442A82E-EEF7-F73A-AD7A-2EA819BCF19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75DD7D9-C80F-6FA9-54B3-DF58317A81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9196208-0E79-7EA3-300F-EA730A731C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6866D2C-5C1B-8264-24FA-640F8FDC11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IN"/>
          </a:p>
        </p:txBody>
      </p:sp>
      <p:sp>
        <p:nvSpPr>
          <p:cNvPr id="5" name="Footer Placeholder 4">
            <a:extLst>
              <a:ext uri="{FF2B5EF4-FFF2-40B4-BE49-F238E27FC236}">
                <a16:creationId xmlns:a16="http://schemas.microsoft.com/office/drawing/2014/main" id="{BD8D6662-B450-F987-6001-684F88E49C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3C14FD39-0A5B-5841-803E-2EE1ACD406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87FB3E9-D005-4AC2-9474-885CF7811261}" type="slidenum">
              <a:rPr lang="en-IN" smtClean="0"/>
              <a:t>‹#›</a:t>
            </a:fld>
            <a:endParaRPr lang="en-IN"/>
          </a:p>
        </p:txBody>
      </p:sp>
    </p:spTree>
    <p:extLst>
      <p:ext uri="{BB962C8B-B14F-4D97-AF65-F5344CB8AC3E}">
        <p14:creationId xmlns:p14="http://schemas.microsoft.com/office/powerpoint/2010/main" val="16411615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C73D36-43B4-9662-4FC3-2431A3E9D552}"/>
              </a:ext>
            </a:extLst>
          </p:cNvPr>
          <p:cNvGraphicFramePr>
            <a:graphicFrameLocks noChangeAspect="1"/>
          </p:cNvGraphicFramePr>
          <p:nvPr userDrawn="1">
            <p:custDataLst>
              <p:tags r:id="rId40"/>
            </p:custDataLst>
            <p:extLst>
              <p:ext uri="{D42A27DB-BD31-4B8C-83A1-F6EECF244321}">
                <p14:modId xmlns:p14="http://schemas.microsoft.com/office/powerpoint/2010/main" val="648127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03" imgH="503" progId="TCLayout.ActiveDocument.1">
                  <p:embed/>
                </p:oleObj>
              </mc:Choice>
              <mc:Fallback>
                <p:oleObj name="think-cell Slide" r:id="rId41" imgW="503" imgH="503" progId="TCLayout.ActiveDocument.1">
                  <p:embed/>
                  <p:pic>
                    <p:nvPicPr>
                      <p:cNvPr id="8" name="think-cell data - do not delete" hidden="1">
                        <a:extLst>
                          <a:ext uri="{FF2B5EF4-FFF2-40B4-BE49-F238E27FC236}">
                            <a16:creationId xmlns:a16="http://schemas.microsoft.com/office/drawing/2014/main" id="{0EC73D36-43B4-9662-4FC3-2431A3E9D552}"/>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1672749" y="6374573"/>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pic>
        <p:nvPicPr>
          <p:cNvPr id="6" name="Picture 5">
            <a:extLst>
              <a:ext uri="{FF2B5EF4-FFF2-40B4-BE49-F238E27FC236}">
                <a16:creationId xmlns:a16="http://schemas.microsoft.com/office/drawing/2014/main" id="{E3330E73-984B-5B83-C81A-02D7B390BB23}"/>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0926849" y="96303"/>
            <a:ext cx="1221695" cy="1221695"/>
          </a:xfrm>
          <a:prstGeom prst="rect">
            <a:avLst/>
          </a:prstGeom>
        </p:spPr>
      </p:pic>
    </p:spTree>
    <p:extLst>
      <p:ext uri="{BB962C8B-B14F-4D97-AF65-F5344CB8AC3E}">
        <p14:creationId xmlns:p14="http://schemas.microsoft.com/office/powerpoint/2010/main" val="287358938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Lst>
  <p:hf sldNum="0" hdr="0" ftr="0" dt="0"/>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E5AA947-F1F6-E90E-15AD-18EE076DA9C7}"/>
              </a:ext>
            </a:extLst>
          </p:cNvPr>
          <p:cNvGraphicFramePr>
            <a:graphicFrameLocks noChangeAspect="1"/>
          </p:cNvGraphicFramePr>
          <p:nvPr userDrawn="1">
            <p:custDataLst>
              <p:tags r:id="rId14"/>
            </p:custDataLst>
            <p:extLst>
              <p:ext uri="{D42A27DB-BD31-4B8C-83A1-F6EECF244321}">
                <p14:modId xmlns:p14="http://schemas.microsoft.com/office/powerpoint/2010/main" val="14096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10" name="think-cell data - do not delete" hidden="1">
                        <a:extLst>
                          <a:ext uri="{FF2B5EF4-FFF2-40B4-BE49-F238E27FC236}">
                            <a16:creationId xmlns:a16="http://schemas.microsoft.com/office/drawing/2014/main" id="{8E5AA947-F1F6-E90E-15AD-18EE076DA9C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75DD7D9-C80F-6FA9-54B3-DF58317A81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9196208-0E79-7EA3-300F-EA730A731C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6866D2C-5C1B-8264-24FA-640F8FDC11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IN"/>
          </a:p>
        </p:txBody>
      </p:sp>
      <p:sp>
        <p:nvSpPr>
          <p:cNvPr id="5" name="Footer Placeholder 4">
            <a:extLst>
              <a:ext uri="{FF2B5EF4-FFF2-40B4-BE49-F238E27FC236}">
                <a16:creationId xmlns:a16="http://schemas.microsoft.com/office/drawing/2014/main" id="{BD8D6662-B450-F987-6001-684F88E49C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India’s Maritime Decarbonization</a:t>
            </a:r>
            <a:endParaRPr lang="en-IN"/>
          </a:p>
        </p:txBody>
      </p:sp>
      <p:sp>
        <p:nvSpPr>
          <p:cNvPr id="6" name="Slide Number Placeholder 5">
            <a:extLst>
              <a:ext uri="{FF2B5EF4-FFF2-40B4-BE49-F238E27FC236}">
                <a16:creationId xmlns:a16="http://schemas.microsoft.com/office/drawing/2014/main" id="{3C14FD39-0A5B-5841-803E-2EE1ACD406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87FB3E9-D005-4AC2-9474-885CF7811261}" type="slidenum">
              <a:rPr lang="en-IN" smtClean="0"/>
              <a:t>‹#›</a:t>
            </a:fld>
            <a:endParaRPr lang="en-IN"/>
          </a:p>
        </p:txBody>
      </p:sp>
    </p:spTree>
    <p:extLst>
      <p:ext uri="{BB962C8B-B14F-4D97-AF65-F5344CB8AC3E}">
        <p14:creationId xmlns:p14="http://schemas.microsoft.com/office/powerpoint/2010/main" val="91790456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3.xml"/><Relationship Id="rId1" Type="http://schemas.openxmlformats.org/officeDocument/2006/relationships/tags" Target="../tags/tag19.xml"/><Relationship Id="rId5" Type="http://schemas.openxmlformats.org/officeDocument/2006/relationships/image" Target="../media/image1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20.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2.xml"/><Relationship Id="rId6" Type="http://schemas.openxmlformats.org/officeDocument/2006/relationships/image" Target="../media/image19.png"/><Relationship Id="rId5" Type="http://schemas.openxmlformats.org/officeDocument/2006/relationships/image" Target="../media/image35.jpeg"/><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xml"/><Relationship Id="rId1" Type="http://schemas.openxmlformats.org/officeDocument/2006/relationships/tags" Target="../tags/tag11.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9.png"/><Relationship Id="rId2" Type="http://schemas.openxmlformats.org/officeDocument/2006/relationships/slideLayout" Target="../slideLayouts/slideLayout23.xml"/><Relationship Id="rId1" Type="http://schemas.openxmlformats.org/officeDocument/2006/relationships/tags" Target="../tags/tag12.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notesSlide" Target="../notesSlides/notesSlide4.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slideLayout" Target="../slideLayouts/slideLayout23.xml"/><Relationship Id="rId16" Type="http://schemas.openxmlformats.org/officeDocument/2006/relationships/image" Target="../media/image30.svg"/><Relationship Id="rId1" Type="http://schemas.openxmlformats.org/officeDocument/2006/relationships/tags" Target="../tags/tag13.xml"/><Relationship Id="rId6" Type="http://schemas.openxmlformats.org/officeDocument/2006/relationships/image" Target="../media/image19.png"/><Relationship Id="rId11" Type="http://schemas.openxmlformats.org/officeDocument/2006/relationships/image" Target="../media/image25.png"/><Relationship Id="rId5" Type="http://schemas.openxmlformats.org/officeDocument/2006/relationships/image" Target="../media/image1.emf"/><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oleObject" Target="../embeddings/oleObject6.bin"/><Relationship Id="rId9" Type="http://schemas.openxmlformats.org/officeDocument/2006/relationships/image" Target="../media/image23.png"/><Relationship Id="rId14" Type="http://schemas.openxmlformats.org/officeDocument/2006/relationships/image" Target="../media/image28.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31.jpeg"/><Relationship Id="rId2" Type="http://schemas.openxmlformats.org/officeDocument/2006/relationships/slideLayout" Target="../slideLayouts/slideLayout23.xml"/><Relationship Id="rId1" Type="http://schemas.openxmlformats.org/officeDocument/2006/relationships/tags" Target="../tags/tag1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3.xml"/><Relationship Id="rId1" Type="http://schemas.openxmlformats.org/officeDocument/2006/relationships/tags" Target="../tags/tag16.xml"/><Relationship Id="rId6" Type="http://schemas.openxmlformats.org/officeDocument/2006/relationships/image" Target="../media/image32.jpeg"/><Relationship Id="rId5" Type="http://schemas.openxmlformats.org/officeDocument/2006/relationships/image" Target="../media/image19.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3.jpeg"/><Relationship Id="rId2" Type="http://schemas.openxmlformats.org/officeDocument/2006/relationships/slideLayout" Target="../slideLayouts/slideLayout23.xml"/><Relationship Id="rId1" Type="http://schemas.openxmlformats.org/officeDocument/2006/relationships/tags" Target="../tags/tag17.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3.xml"/><Relationship Id="rId1" Type="http://schemas.openxmlformats.org/officeDocument/2006/relationships/tags" Target="../tags/tag18.xml"/><Relationship Id="rId5" Type="http://schemas.openxmlformats.org/officeDocument/2006/relationships/image" Target="../media/image19.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CCF60-BAFC-334C-60DC-EC8F5F2195C6}"/>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08026B59-32C8-9A67-E938-F1546287E9EA}"/>
              </a:ext>
            </a:extLst>
          </p:cNvPr>
          <p:cNvPicPr>
            <a:picLocks noChangeAspect="1"/>
          </p:cNvPicPr>
          <p:nvPr/>
        </p:nvPicPr>
        <p:blipFill>
          <a:blip r:embed="rId3"/>
          <a:srcRect l="8370" r="2742"/>
          <a:stretch>
            <a:fillRect/>
          </a:stretch>
        </p:blipFill>
        <p:spPr>
          <a:xfrm flipH="1">
            <a:off x="-3" y="0"/>
            <a:ext cx="12192004" cy="6858000"/>
          </a:xfrm>
          <a:prstGeom prst="rect">
            <a:avLst/>
          </a:prstGeom>
        </p:spPr>
      </p:pic>
      <p:sp>
        <p:nvSpPr>
          <p:cNvPr id="5" name="Rectangle 4">
            <a:extLst>
              <a:ext uri="{FF2B5EF4-FFF2-40B4-BE49-F238E27FC236}">
                <a16:creationId xmlns:a16="http://schemas.microsoft.com/office/drawing/2014/main" id="{A7436B41-2199-04B5-E37F-E459976ECAB9}"/>
              </a:ext>
            </a:extLst>
          </p:cNvPr>
          <p:cNvSpPr/>
          <p:nvPr/>
        </p:nvSpPr>
        <p:spPr>
          <a:xfrm>
            <a:off x="-2" y="2604977"/>
            <a:ext cx="12192001" cy="1761283"/>
          </a:xfrm>
          <a:prstGeom prst="rect">
            <a:avLst/>
          </a:prstGeom>
          <a:solidFill>
            <a:schemeClr val="tx1">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IN" sz="4800" b="1" i="1"/>
              <a:t>INDIA @ Net Zero</a:t>
            </a:r>
          </a:p>
          <a:p>
            <a:pPr algn="ctr">
              <a:defRPr/>
            </a:pPr>
            <a:r>
              <a:rPr lang="en-GB" sz="2000" b="1"/>
              <a:t>National Green Shipping Policy (NGSP) – Multi-</a:t>
            </a:r>
          </a:p>
          <a:p>
            <a:pPr algn="ctr">
              <a:defRPr/>
            </a:pPr>
            <a:r>
              <a:rPr lang="en-GB" sz="2000" b="1"/>
              <a:t>Ministerial Action Plan &amp; Governance Workshop</a:t>
            </a:r>
            <a:endParaRPr lang="en-US" sz="2000" b="1"/>
          </a:p>
        </p:txBody>
      </p:sp>
      <p:pic>
        <p:nvPicPr>
          <p:cNvPr id="2" name="Picture 1">
            <a:extLst>
              <a:ext uri="{FF2B5EF4-FFF2-40B4-BE49-F238E27FC236}">
                <a16:creationId xmlns:a16="http://schemas.microsoft.com/office/drawing/2014/main" id="{87179D9D-0226-8EDE-2545-C77799BA8AF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872777" y="217853"/>
            <a:ext cx="1092910" cy="1303513"/>
          </a:xfrm>
          <a:prstGeom prst="rect">
            <a:avLst/>
          </a:prstGeom>
        </p:spPr>
      </p:pic>
      <p:sp>
        <p:nvSpPr>
          <p:cNvPr id="6" name="Subtitle 2">
            <a:extLst>
              <a:ext uri="{FF2B5EF4-FFF2-40B4-BE49-F238E27FC236}">
                <a16:creationId xmlns:a16="http://schemas.microsoft.com/office/drawing/2014/main" id="{36A65E28-06FE-392E-7CAD-9056A4606935}"/>
              </a:ext>
            </a:extLst>
          </p:cNvPr>
          <p:cNvSpPr txBox="1">
            <a:spLocks/>
          </p:cNvSpPr>
          <p:nvPr/>
        </p:nvSpPr>
        <p:spPr>
          <a:xfrm>
            <a:off x="0" y="5202238"/>
            <a:ext cx="12192000" cy="1655762"/>
          </a:xfrm>
          <a:prstGeom prst="rect">
            <a:avLst/>
          </a:prstGeom>
          <a:solidFill>
            <a:schemeClr val="bg1">
              <a:alpha val="45098"/>
            </a:schemeClr>
          </a:solidFill>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IN" sz="1400" b="1" dirty="0"/>
          </a:p>
          <a:p>
            <a:pPr marL="0" indent="0" algn="ctr">
              <a:buNone/>
            </a:pPr>
            <a:r>
              <a:rPr lang="en-GB" sz="3200" b="1" dirty="0"/>
              <a:t>Session 2: Green Recycling &amp; Circular Economy in Maritime</a:t>
            </a:r>
            <a:r>
              <a:rPr lang="en-IN" sz="1800" b="1" dirty="0"/>
              <a:t> </a:t>
            </a:r>
          </a:p>
          <a:p>
            <a:pPr marL="0" indent="0" algn="ctr">
              <a:buNone/>
            </a:pPr>
            <a:r>
              <a:rPr lang="en-IN" sz="1800" b="1" dirty="0"/>
              <a:t>14-15 January 2026|  </a:t>
            </a:r>
            <a:r>
              <a:rPr lang="fr-FR" sz="1800" b="1" dirty="0" err="1"/>
              <a:t>India</a:t>
            </a:r>
            <a:r>
              <a:rPr lang="fr-FR" sz="1800" b="1" dirty="0"/>
              <a:t> Habitat Centre, New Delhi</a:t>
            </a:r>
            <a:endParaRPr lang="en-IN" sz="1800" b="1" dirty="0"/>
          </a:p>
        </p:txBody>
      </p:sp>
      <p:sp>
        <p:nvSpPr>
          <p:cNvPr id="3" name="AutoShape 2">
            <a:extLst>
              <a:ext uri="{FF2B5EF4-FFF2-40B4-BE49-F238E27FC236}">
                <a16:creationId xmlns:a16="http://schemas.microsoft.com/office/drawing/2014/main" id="{83833011-AE46-6234-C5AC-2ABAEE7AB32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026" name="Picture 2">
            <a:extLst>
              <a:ext uri="{FF2B5EF4-FFF2-40B4-BE49-F238E27FC236}">
                <a16:creationId xmlns:a16="http://schemas.microsoft.com/office/drawing/2014/main" id="{9AF58B48-10C7-28A5-E6AD-42CD794D9E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403" y="217853"/>
            <a:ext cx="1615827" cy="685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606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D24126B-9380-8710-7AA3-4F4CAFCE04AC}"/>
              </a:ext>
            </a:extLst>
          </p:cNvPr>
          <p:cNvGraphicFramePr>
            <a:graphicFrameLocks noChangeAspect="1"/>
          </p:cNvGraphicFramePr>
          <p:nvPr>
            <p:custDataLst>
              <p:tags r:id="rId1"/>
            </p:custDataLst>
            <p:extLst>
              <p:ext uri="{D42A27DB-BD31-4B8C-83A1-F6EECF244321}">
                <p14:modId xmlns:p14="http://schemas.microsoft.com/office/powerpoint/2010/main" val="2648065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6" name="think-cell data - do not delete" hidden="1">
                        <a:extLst>
                          <a:ext uri="{FF2B5EF4-FFF2-40B4-BE49-F238E27FC236}">
                            <a16:creationId xmlns:a16="http://schemas.microsoft.com/office/drawing/2014/main" id="{DD24126B-9380-8710-7AA3-4F4CAFCE04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58F6B08-9C21-EC64-83F3-544D5E5F8930}"/>
              </a:ext>
            </a:extLst>
          </p:cNvPr>
          <p:cNvSpPr>
            <a:spLocks noGrp="1"/>
          </p:cNvSpPr>
          <p:nvPr>
            <p:ph type="title"/>
          </p:nvPr>
        </p:nvSpPr>
        <p:spPr/>
        <p:txBody>
          <a:bodyPr vert="horz"/>
          <a:lstStyle/>
          <a:p>
            <a:pPr algn="ctr"/>
            <a:r>
              <a:rPr lang="en-GB" sz="4000" b="1">
                <a:latin typeface="Source Sans Pro" panose="020B0503030403020204" pitchFamily="34" charset="0"/>
                <a:ea typeface="Source Sans Pro" panose="020B0503030403020204" pitchFamily="34" charset="0"/>
              </a:rPr>
              <a:t>Stakeholder Mapping</a:t>
            </a:r>
            <a:endParaRPr lang="en-GB" sz="4000"/>
          </a:p>
        </p:txBody>
      </p:sp>
      <p:graphicFrame>
        <p:nvGraphicFramePr>
          <p:cNvPr id="5" name="Table 4">
            <a:extLst>
              <a:ext uri="{FF2B5EF4-FFF2-40B4-BE49-F238E27FC236}">
                <a16:creationId xmlns:a16="http://schemas.microsoft.com/office/drawing/2014/main" id="{75233AAF-D590-876B-241E-DEF0873BDC39}"/>
              </a:ext>
            </a:extLst>
          </p:cNvPr>
          <p:cNvGraphicFramePr>
            <a:graphicFrameLocks noGrp="1"/>
          </p:cNvGraphicFramePr>
          <p:nvPr>
            <p:extLst>
              <p:ext uri="{D42A27DB-BD31-4B8C-83A1-F6EECF244321}">
                <p14:modId xmlns:p14="http://schemas.microsoft.com/office/powerpoint/2010/main" val="34195076"/>
              </p:ext>
            </p:extLst>
          </p:nvPr>
        </p:nvGraphicFramePr>
        <p:xfrm>
          <a:off x="598280" y="1159035"/>
          <a:ext cx="10981009" cy="5267165"/>
        </p:xfrm>
        <a:graphic>
          <a:graphicData uri="http://schemas.openxmlformats.org/drawingml/2006/table">
            <a:tbl>
              <a:tblPr firstRow="1" firstCol="1" bandRow="1">
                <a:tableStyleId>{7E9639D4-E3E2-4D34-9284-5A2195B3D0D7}</a:tableStyleId>
              </a:tblPr>
              <a:tblGrid>
                <a:gridCol w="4011178">
                  <a:extLst>
                    <a:ext uri="{9D8B030D-6E8A-4147-A177-3AD203B41FA5}">
                      <a16:colId xmlns:a16="http://schemas.microsoft.com/office/drawing/2014/main" val="3731835721"/>
                    </a:ext>
                  </a:extLst>
                </a:gridCol>
                <a:gridCol w="1983504">
                  <a:extLst>
                    <a:ext uri="{9D8B030D-6E8A-4147-A177-3AD203B41FA5}">
                      <a16:colId xmlns:a16="http://schemas.microsoft.com/office/drawing/2014/main" val="3225828891"/>
                    </a:ext>
                  </a:extLst>
                </a:gridCol>
                <a:gridCol w="2551831">
                  <a:extLst>
                    <a:ext uri="{9D8B030D-6E8A-4147-A177-3AD203B41FA5}">
                      <a16:colId xmlns:a16="http://schemas.microsoft.com/office/drawing/2014/main" val="1421696245"/>
                    </a:ext>
                  </a:extLst>
                </a:gridCol>
                <a:gridCol w="2434496">
                  <a:extLst>
                    <a:ext uri="{9D8B030D-6E8A-4147-A177-3AD203B41FA5}">
                      <a16:colId xmlns:a16="http://schemas.microsoft.com/office/drawing/2014/main" val="1098968695"/>
                    </a:ext>
                  </a:extLst>
                </a:gridCol>
              </a:tblGrid>
              <a:tr h="425040">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Outcome Area</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Lead Ministry / Authority</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Supporting Agencies</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Industry Stakeholders</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extLst>
                  <a:ext uri="{0D108BD9-81ED-4DB2-BD59-A6C34878D82A}">
                    <a16:rowId xmlns:a16="http://schemas.microsoft.com/office/drawing/2014/main" val="2731552967"/>
                  </a:ext>
                </a:extLst>
              </a:tr>
              <a:tr h="77625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Workforce safety, training, and certification for green ship recycling</a:t>
                      </a: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MB</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IMU, SCGJ</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Yard operators, training providers</a:t>
                      </a:r>
                      <a:endParaRPr lang="en-GB" sz="1200" b="1">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1943421363"/>
                  </a:ext>
                </a:extLst>
              </a:tr>
              <a:tr h="77625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International cooperation and green contracting for end-of-life vessels</a:t>
                      </a: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EA, SMB</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Shipowners, flag states</a:t>
                      </a:r>
                      <a:endParaRPr lang="en-GB" sz="1200" b="1">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1319863606"/>
                  </a:ext>
                </a:extLst>
              </a:tr>
              <a:tr h="57903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Third-party environmental auditing and public disclosure</a:t>
                      </a:r>
                    </a:p>
                  </a:txBody>
                  <a:tcPr marL="31548" marR="31548" marT="0" marB="0">
                    <a:solidFill>
                      <a:schemeClr val="bg1">
                        <a:lumMod val="85000"/>
                      </a:schemeClr>
                    </a:solidFill>
                  </a:tcPr>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DGS</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GMB / SMBs, Accredited auditors</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Recycling yards, certification bodies</a:t>
                      </a:r>
                      <a:endParaRPr lang="en-GB" sz="1200" b="1">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600850664"/>
                  </a:ext>
                </a:extLst>
              </a:tr>
              <a:tr h="77625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Advanced monitoring and digital twin deployment for high-volume yards</a:t>
                      </a: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SMBs </a:t>
                      </a:r>
                      <a:b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b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Technology partner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Tech providers, large recycling yards</a:t>
                      </a:r>
                      <a:endParaRPr lang="en-GB" sz="1200" b="1"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3535761496"/>
                  </a:ext>
                </a:extLst>
              </a:tr>
              <a:tr h="57903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Wastewater, effluent, and zero-discharge compliance</a:t>
                      </a:r>
                    </a:p>
                  </a:txBody>
                  <a:tcPr marL="31548" marR="31548" marT="0" marB="0">
                    <a:solidFill>
                      <a:schemeClr val="bg1">
                        <a:lumMod val="85000"/>
                      </a:schemeClr>
                    </a:solidFill>
                  </a:tcPr>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EFCC/SPCB</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GMB / SMB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Ship recycling yards</a:t>
                      </a:r>
                      <a:endParaRPr lang="en-GB" sz="1200" b="1"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1835523196"/>
                  </a:ext>
                </a:extLst>
              </a:tr>
              <a:tr h="77625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Material recovery efficiency and minimum recovery rate enforcement</a:t>
                      </a:r>
                    </a:p>
                  </a:txBody>
                  <a:tcPr marL="31548" marR="31548" marT="0" marB="0">
                    <a:solidFill>
                      <a:schemeClr val="bg1">
                        <a:lumMod val="85000"/>
                      </a:schemeClr>
                    </a:solidFill>
                  </a:tcPr>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SMB</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MoS/ </a:t>
                      </a: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EFCC</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Recycling yards, steel processors</a:t>
                      </a:r>
                      <a:endParaRPr lang="en-GB" sz="1200" b="1"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1738629299"/>
                  </a:ext>
                </a:extLst>
              </a:tr>
              <a:tr h="579035">
                <a:tc>
                  <a:txBody>
                    <a:bodyPr/>
                    <a:lstStyle/>
                    <a:p>
                      <a:pPr marL="0" algn="l" defTabSz="914400" rtl="0" eaLnBrk="1" latinLnBrk="0" hangingPunct="1">
                        <a:lnSpc>
                          <a:spcPct val="115000"/>
                        </a:lnSpc>
                        <a:buNone/>
                      </a:pPr>
                      <a:r>
                        <a:rPr lang="en-GB" sz="1200" b="1" kern="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Technology transfer, mechanisation, and automation adoption</a:t>
                      </a:r>
                    </a:p>
                  </a:txBody>
                  <a:tcPr marL="31548" marR="31548" marT="0" marB="0">
                    <a:solidFill>
                      <a:schemeClr val="bg1">
                        <a:lumMod val="85000"/>
                      </a:schemeClr>
                    </a:solidFill>
                  </a:tcPr>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SMB</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Classification Societies</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Industry partner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rPr>
                        <a:t>Equipment OEMs, ship recycling yards</a:t>
                      </a:r>
                      <a:endParaRPr lang="en-GB" sz="1200" b="1" dirty="0">
                        <a:solidFill>
                          <a:schemeClr val="tx1"/>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tc>
                <a:extLst>
                  <a:ext uri="{0D108BD9-81ED-4DB2-BD59-A6C34878D82A}">
                    <a16:rowId xmlns:a16="http://schemas.microsoft.com/office/drawing/2014/main" val="3534706929"/>
                  </a:ext>
                </a:extLst>
              </a:tr>
            </a:tbl>
          </a:graphicData>
        </a:graphic>
      </p:graphicFrame>
      <p:pic>
        <p:nvPicPr>
          <p:cNvPr id="10" name="Picture 2">
            <a:extLst>
              <a:ext uri="{FF2B5EF4-FFF2-40B4-BE49-F238E27FC236}">
                <a16:creationId xmlns:a16="http://schemas.microsoft.com/office/drawing/2014/main" id="{CC310920-93D5-C86D-9318-C977FB981F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67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2E2FBE-4DD5-DD5E-CFC4-C26624DF1771}"/>
              </a:ext>
            </a:extLst>
          </p:cNvPr>
          <p:cNvGraphicFramePr>
            <a:graphicFrameLocks noChangeAspect="1"/>
          </p:cNvGraphicFramePr>
          <p:nvPr>
            <p:custDataLst>
              <p:tags r:id="rId1"/>
            </p:custDataLst>
            <p:extLst>
              <p:ext uri="{D42A27DB-BD31-4B8C-83A1-F6EECF244321}">
                <p14:modId xmlns:p14="http://schemas.microsoft.com/office/powerpoint/2010/main" val="1358081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5" name="think-cell data - do not delete" hidden="1">
                        <a:extLst>
                          <a:ext uri="{FF2B5EF4-FFF2-40B4-BE49-F238E27FC236}">
                            <a16:creationId xmlns:a16="http://schemas.microsoft.com/office/drawing/2014/main" id="{772E2FBE-4DD5-DD5E-CFC4-C26624DF17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E47BF18-6772-E8E1-A02B-1585CAE9B929}"/>
              </a:ext>
            </a:extLst>
          </p:cNvPr>
          <p:cNvSpPr>
            <a:spLocks noGrp="1"/>
          </p:cNvSpPr>
          <p:nvPr>
            <p:ph type="body" sz="quarter" idx="10"/>
          </p:nvPr>
        </p:nvSpPr>
        <p:spPr>
          <a:xfrm>
            <a:off x="995364" y="1404554"/>
            <a:ext cx="10198237" cy="4546799"/>
          </a:xfrm>
        </p:spPr>
        <p:txBody>
          <a:bodyPr vert="horz" lIns="0" tIns="0" rIns="0" bIns="0" rtlCol="0" anchor="t" anchorCtr="0">
            <a:noAutofit/>
          </a:bodyPr>
          <a:lstStyle/>
          <a:p>
            <a:pPr marL="342900" lvl="0" indent="-342900">
              <a:lnSpc>
                <a:spcPct val="150000"/>
              </a:lnSpc>
              <a:buFont typeface="+mj-lt"/>
              <a:buAutoNum type="arabicPeriod"/>
            </a:pPr>
            <a:r>
              <a:rPr lang="en-GB" sz="1800" b="0" dirty="0">
                <a:solidFill>
                  <a:schemeClr val="tx1"/>
                </a:solidFill>
                <a:latin typeface="Times New Roman" panose="02020603050405020304" pitchFamily="18" charset="0"/>
                <a:ea typeface="Source Sans Pro" panose="020B0503030403020204" pitchFamily="34" charset="0"/>
                <a:cs typeface="Times New Roman" panose="02020603050405020304" pitchFamily="18" charset="0"/>
              </a:rPr>
              <a:t>Alignment on yard level upgrades and minimum infrastructure changes like impermeable floors, drainage, waste handling needed to comply with </a:t>
            </a:r>
            <a:r>
              <a:rPr lang="en-US" sz="1800" b="0" dirty="0">
                <a:solidFill>
                  <a:schemeClr val="tx1"/>
                </a:solidFill>
                <a:latin typeface="Times New Roman" panose="02020603050405020304" pitchFamily="18" charset="0"/>
                <a:ea typeface="Source Sans Pro" panose="020B0503030403020204" pitchFamily="34" charset="0"/>
                <a:cs typeface="Times New Roman" panose="02020603050405020304" pitchFamily="18" charset="0"/>
              </a:rPr>
              <a:t>HKC requirements.</a:t>
            </a:r>
            <a:endParaRPr lang="en-GB" sz="1800" dirty="0">
              <a:latin typeface="Times New Roman" panose="02020603050405020304" pitchFamily="18" charset="0"/>
              <a:ea typeface="Source Sans Pro" panose="020B0503030403020204" pitchFamily="34" charset="0"/>
              <a:cs typeface="Times New Roman" panose="02020603050405020304" pitchFamily="18" charset="0"/>
            </a:endParaRPr>
          </a:p>
          <a:p>
            <a:pPr marL="342900" lvl="0" indent="-342900">
              <a:lnSpc>
                <a:spcPct val="150000"/>
              </a:lnSpc>
              <a:buFont typeface="+mj-lt"/>
              <a:buAutoNum type="arabicPeriod"/>
            </a:pPr>
            <a:r>
              <a:rPr lang="en-GB" sz="1800" b="0" dirty="0">
                <a:solidFill>
                  <a:schemeClr val="tx1"/>
                </a:solidFill>
                <a:latin typeface="Times New Roman" panose="02020603050405020304" pitchFamily="18" charset="0"/>
                <a:ea typeface="Source Sans Pro" panose="020B0503030403020204" pitchFamily="34" charset="0"/>
                <a:cs typeface="Times New Roman" panose="02020603050405020304" pitchFamily="18" charset="0"/>
              </a:rPr>
              <a:t>Consensus on a phased ISO adoption roadmap, including triggers for mandatory compliance. Sequencing and timelines for ISO adoption</a:t>
            </a:r>
          </a:p>
          <a:p>
            <a:pPr marL="342900" lvl="0" indent="-342900">
              <a:lnSpc>
                <a:spcPct val="150000"/>
              </a:lnSpc>
              <a:buFont typeface="+mj-lt"/>
              <a:buAutoNum type="arabicPeriod"/>
            </a:pPr>
            <a:r>
              <a:rPr lang="en-GB" sz="1800" b="0" dirty="0">
                <a:solidFill>
                  <a:schemeClr val="tx1"/>
                </a:solidFill>
                <a:latin typeface="Times New Roman" panose="02020603050405020304" pitchFamily="18" charset="0"/>
                <a:ea typeface="Source Sans Pro" panose="020B0503030403020204" pitchFamily="34" charset="0"/>
                <a:cs typeface="Times New Roman" panose="02020603050405020304" pitchFamily="18" charset="0"/>
              </a:rPr>
              <a:t>Agreement on a standardised IHM governance framework, including verification, accreditation, and digital traceability. Allocation of responsibilities across shipowners, flag states, recyclers, and authorities.</a:t>
            </a:r>
          </a:p>
          <a:p>
            <a:pPr marL="342900" lvl="0" indent="-342900">
              <a:lnSpc>
                <a:spcPct val="150000"/>
              </a:lnSpc>
              <a:buFont typeface="+mj-lt"/>
              <a:buAutoNum type="arabicPeriod"/>
            </a:pPr>
            <a:r>
              <a:rPr lang="en-GB" sz="1800" b="0" dirty="0">
                <a:solidFill>
                  <a:schemeClr val="tx1"/>
                </a:solidFill>
                <a:latin typeface="Times New Roman" panose="02020603050405020304" pitchFamily="18" charset="0"/>
                <a:ea typeface="Source Sans Pro" panose="020B0503030403020204" pitchFamily="34" charset="0"/>
                <a:cs typeface="Times New Roman" panose="02020603050405020304" pitchFamily="18" charset="0"/>
              </a:rPr>
              <a:t>Alignment on standards for hazardous waste segregation, storage, and disposal as well as targets or benchmarks for material recovery and recycling efficiency.</a:t>
            </a:r>
          </a:p>
          <a:p>
            <a:pPr marL="342900" lvl="0" indent="-342900">
              <a:lnSpc>
                <a:spcPct val="150000"/>
              </a:lnSpc>
              <a:buFont typeface="+mj-lt"/>
              <a:buAutoNum type="arabicPeriod"/>
            </a:pPr>
            <a:r>
              <a:rPr lang="en-GB" sz="1800" b="0" dirty="0">
                <a:solidFill>
                  <a:schemeClr val="tx1"/>
                </a:solidFill>
                <a:latin typeface="Times New Roman" panose="02020603050405020304" pitchFamily="18" charset="0"/>
                <a:ea typeface="Source Sans Pro" panose="020B0503030403020204" pitchFamily="34" charset="0"/>
                <a:cs typeface="Times New Roman" panose="02020603050405020304" pitchFamily="18" charset="0"/>
              </a:rPr>
              <a:t>Confirm roles and responsibilities across various Ministries and Regulators.</a:t>
            </a:r>
          </a:p>
          <a:p>
            <a:pPr lvl="0"/>
            <a:endParaRPr lang="en-GB" sz="1800" dirty="0">
              <a:latin typeface="Times New Roman" panose="02020603050405020304" pitchFamily="18" charset="0"/>
              <a:cs typeface="Times New Roman" panose="02020603050405020304" pitchFamily="18" charset="0"/>
            </a:endParaRPr>
          </a:p>
          <a:p>
            <a:endParaRPr lang="en-GB" b="0" dirty="0">
              <a:solidFill>
                <a:schemeClr val="tx1"/>
              </a:solidFill>
              <a:latin typeface="Source Sans Pro" panose="020B0503030403020204" pitchFamily="34" charset="0"/>
              <a:ea typeface="Source Sans Pro" panose="020B0503030403020204" pitchFamily="34" charset="0"/>
            </a:endParaRPr>
          </a:p>
        </p:txBody>
      </p:sp>
      <p:sp>
        <p:nvSpPr>
          <p:cNvPr id="3" name="Title 2">
            <a:extLst>
              <a:ext uri="{FF2B5EF4-FFF2-40B4-BE49-F238E27FC236}">
                <a16:creationId xmlns:a16="http://schemas.microsoft.com/office/drawing/2014/main" id="{FDB81B56-1BDA-C018-68EB-0287DA31D3CB}"/>
              </a:ext>
            </a:extLst>
          </p:cNvPr>
          <p:cNvSpPr>
            <a:spLocks noGrp="1"/>
          </p:cNvSpPr>
          <p:nvPr>
            <p:ph type="title"/>
          </p:nvPr>
        </p:nvSpPr>
        <p:spPr/>
        <p:txBody>
          <a:bodyPr vert="horz" lIns="0" tIns="0" rIns="0" bIns="0" rtlCol="0" anchor="t" anchorCtr="0">
            <a:noAutofit/>
          </a:bodyPr>
          <a:lstStyle/>
          <a:p>
            <a:pPr algn="ctr"/>
            <a:r>
              <a:rPr lang="en-GB" sz="4000" b="1" dirty="0">
                <a:latin typeface="Times New Roman" panose="02020603050405020304" pitchFamily="18" charset="0"/>
                <a:ea typeface="Source Sans Pro" panose="020B0503030403020204" pitchFamily="34" charset="0"/>
                <a:cs typeface="Times New Roman" panose="02020603050405020304" pitchFamily="18" charset="0"/>
              </a:rPr>
              <a:t>Key Decisions Expected</a:t>
            </a:r>
          </a:p>
        </p:txBody>
      </p:sp>
      <p:pic>
        <p:nvPicPr>
          <p:cNvPr id="11" name="Picture 2">
            <a:extLst>
              <a:ext uri="{FF2B5EF4-FFF2-40B4-BE49-F238E27FC236}">
                <a16:creationId xmlns:a16="http://schemas.microsoft.com/office/drawing/2014/main" id="{B8CA0710-EE1B-D8A3-7959-8C7EEC9B20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4369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1B86B-BA59-97B6-53F7-682E4BB6FB6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DAD4018-7F45-A203-B4DF-326DEF1BD134}"/>
              </a:ext>
            </a:extLst>
          </p:cNvPr>
          <p:cNvSpPr/>
          <p:nvPr/>
        </p:nvSpPr>
        <p:spPr>
          <a:xfrm>
            <a:off x="0" y="-54864"/>
            <a:ext cx="12192000" cy="6857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 name="Picture 8">
            <a:extLst>
              <a:ext uri="{FF2B5EF4-FFF2-40B4-BE49-F238E27FC236}">
                <a16:creationId xmlns:a16="http://schemas.microsoft.com/office/drawing/2014/main" id="{CEF0DB70-4D92-9BBE-CAF0-2F4A4192CDF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0062386" y="5639943"/>
            <a:ext cx="851074" cy="1015076"/>
          </a:xfrm>
          <a:prstGeom prst="rect">
            <a:avLst/>
          </a:prstGeom>
        </p:spPr>
      </p:pic>
      <p:sp>
        <p:nvSpPr>
          <p:cNvPr id="10" name="Rectangle 1">
            <a:extLst>
              <a:ext uri="{FF2B5EF4-FFF2-40B4-BE49-F238E27FC236}">
                <a16:creationId xmlns:a16="http://schemas.microsoft.com/office/drawing/2014/main" id="{0157DBAC-7FFB-A587-E2BF-ADAF261A548D}"/>
              </a:ext>
            </a:extLst>
          </p:cNvPr>
          <p:cNvSpPr>
            <a:spLocks noChangeArrowheads="1"/>
          </p:cNvSpPr>
          <p:nvPr/>
        </p:nvSpPr>
        <p:spPr bwMode="auto">
          <a:xfrm>
            <a:off x="7804365" y="1128182"/>
            <a:ext cx="4123479"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hi-IN" altLang="en-US" sz="3600" b="1" i="1" u="none" strike="noStrike" kern="1200" cap="none" spc="0" normalizeH="0" baseline="0" noProof="0">
                <a:ln>
                  <a:noFill/>
                </a:ln>
                <a:solidFill>
                  <a:prstClr val="black"/>
                </a:solidFill>
                <a:effectLst/>
                <a:uLnTx/>
                <a:uFillTx/>
                <a:latin typeface="Arial" panose="020B0604020202020204" pitchFamily="34" charset="0"/>
                <a:ea typeface="+mn-ea"/>
                <a:cs typeface="Mangal" panose="02040503050203030202" pitchFamily="18" charset="0"/>
              </a:rPr>
              <a:t>संगच्छध्वं </a:t>
            </a:r>
            <a:endParaRPr kumimoji="0" lang="en-IN" altLang="en-US" sz="3600" b="1" i="1" u="none" strike="noStrike" kern="1200" cap="none" spc="0" normalizeH="0" baseline="0" noProof="0">
              <a:ln>
                <a:noFill/>
              </a:ln>
              <a:solidFill>
                <a:prstClr val="black"/>
              </a:solidFill>
              <a:effectLst/>
              <a:uLnTx/>
              <a:uFillTx/>
              <a:latin typeface="Arial" panose="020B0604020202020204" pitchFamily="34" charset="0"/>
              <a:ea typeface="+mn-ea"/>
              <a:cs typeface="Mangal" panose="02040503050203030202" pitchFamily="18" charset="0"/>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hi-IN" altLang="en-US" sz="3600" b="1" i="1" u="none" strike="noStrike" kern="1200" cap="none" spc="0" normalizeH="0" baseline="0" noProof="0">
                <a:ln>
                  <a:noFill/>
                </a:ln>
                <a:solidFill>
                  <a:prstClr val="black"/>
                </a:solidFill>
                <a:effectLst/>
                <a:uLnTx/>
                <a:uFillTx/>
                <a:latin typeface="Arial" panose="020B0604020202020204" pitchFamily="34" charset="0"/>
                <a:ea typeface="+mn-ea"/>
                <a:cs typeface="Mangal" panose="02040503050203030202" pitchFamily="18" charset="0"/>
              </a:rPr>
              <a:t>संवदध्वं </a:t>
            </a:r>
            <a:endParaRPr kumimoji="0" lang="en-IN" altLang="en-US" sz="3600" b="1" i="1" u="none" strike="noStrike" kern="1200" cap="none" spc="0" normalizeH="0" baseline="0" noProof="0">
              <a:ln>
                <a:noFill/>
              </a:ln>
              <a:solidFill>
                <a:prstClr val="black"/>
              </a:solidFill>
              <a:effectLst/>
              <a:uLnTx/>
              <a:uFillTx/>
              <a:latin typeface="Arial" panose="020B0604020202020204" pitchFamily="34" charset="0"/>
              <a:ea typeface="+mn-ea"/>
              <a:cs typeface="Mangal" panose="02040503050203030202" pitchFamily="18" charset="0"/>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hi-IN" altLang="en-US" sz="3600" b="1" i="1" u="none" strike="noStrike" kern="1200" cap="none" spc="0" normalizeH="0" baseline="0" noProof="0">
                <a:ln>
                  <a:noFill/>
                </a:ln>
                <a:solidFill>
                  <a:prstClr val="black"/>
                </a:solidFill>
                <a:effectLst/>
                <a:uLnTx/>
                <a:uFillTx/>
                <a:latin typeface="Arial" panose="020B0604020202020204" pitchFamily="34" charset="0"/>
                <a:ea typeface="+mn-ea"/>
                <a:cs typeface="Mangal" panose="02040503050203030202" pitchFamily="18" charset="0"/>
              </a:rPr>
              <a:t>सं वो मनांसि जानताम्।</a:t>
            </a:r>
            <a:endParaRPr kumimoji="0" lang="en-US" altLang="en-US" sz="3600" b="1" i="1"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altLang="en-US" sz="18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Move together,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speak together,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may your minds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be in harmony.”</a:t>
            </a:r>
            <a:endParaRPr kumimoji="0" lang="en-US" altLang="en-US" sz="1800" b="1"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Rigveda 10.191.2)</a:t>
            </a:r>
          </a:p>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altLang="en-US" sz="12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pic>
        <p:nvPicPr>
          <p:cNvPr id="5124" name="Picture 4" descr="Visakhapatnam Port Authority | Chairmans Message">
            <a:extLst>
              <a:ext uri="{FF2B5EF4-FFF2-40B4-BE49-F238E27FC236}">
                <a16:creationId xmlns:a16="http://schemas.microsoft.com/office/drawing/2014/main" id="{8B394AF9-82D8-0D0B-96D0-D87B6D111A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4182"/>
          <a:stretch>
            <a:fillRect/>
          </a:stretch>
        </p:blipFill>
        <p:spPr bwMode="auto">
          <a:xfrm>
            <a:off x="8515177" y="5520267"/>
            <a:ext cx="1439827" cy="123562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group of cargo ships in the water&#10;&#10;AI-generated content may be incorrect.">
            <a:extLst>
              <a:ext uri="{FF2B5EF4-FFF2-40B4-BE49-F238E27FC236}">
                <a16:creationId xmlns:a16="http://schemas.microsoft.com/office/drawing/2014/main" id="{1779D21E-5CB4-1E36-FDFB-9083AF949DB3}"/>
              </a:ext>
            </a:extLst>
          </p:cNvPr>
          <p:cNvPicPr>
            <a:picLocks noChangeAspect="1"/>
          </p:cNvPicPr>
          <p:nvPr/>
        </p:nvPicPr>
        <p:blipFill>
          <a:blip r:embed="rId5">
            <a:extLst>
              <a:ext uri="{28A0092B-C50C-407E-A947-70E740481C1C}">
                <a14:useLocalDpi xmlns:a14="http://schemas.microsoft.com/office/drawing/2010/main" val="0"/>
              </a:ext>
            </a:extLst>
          </a:blip>
          <a:srcRect l="1017" t="21625" r="35385"/>
          <a:stretch>
            <a:fillRect/>
          </a:stretch>
        </p:blipFill>
        <p:spPr>
          <a:xfrm>
            <a:off x="-1" y="-54864"/>
            <a:ext cx="8347541" cy="6912864"/>
          </a:xfrm>
          <a:prstGeom prst="rect">
            <a:avLst/>
          </a:prstGeom>
        </p:spPr>
      </p:pic>
      <p:pic>
        <p:nvPicPr>
          <p:cNvPr id="2" name="Picture 2">
            <a:extLst>
              <a:ext uri="{FF2B5EF4-FFF2-40B4-BE49-F238E27FC236}">
                <a16:creationId xmlns:a16="http://schemas.microsoft.com/office/drawing/2014/main" id="{C011D4C0-E311-B963-3A45-37420D3351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43025" y="5826781"/>
            <a:ext cx="1019410" cy="432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154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6C744-89B0-CDA1-FF98-8982EFCB338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52062C-B9BF-2AFB-3358-6E507A5859D5}"/>
              </a:ext>
            </a:extLst>
          </p:cNvPr>
          <p:cNvGraphicFramePr>
            <a:graphicFrameLocks noChangeAspect="1"/>
          </p:cNvGraphicFramePr>
          <p:nvPr>
            <p:custDataLst>
              <p:tags r:id="rId1"/>
            </p:custDataLst>
            <p:extLst>
              <p:ext uri="{D42A27DB-BD31-4B8C-83A1-F6EECF244321}">
                <p14:modId xmlns:p14="http://schemas.microsoft.com/office/powerpoint/2010/main" val="353602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8" name="think-cell data - do not delete" hidden="1">
                        <a:extLst>
                          <a:ext uri="{FF2B5EF4-FFF2-40B4-BE49-F238E27FC236}">
                            <a16:creationId xmlns:a16="http://schemas.microsoft.com/office/drawing/2014/main" id="{6252062C-B9BF-2AFB-3358-6E507A5859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70FCD60-2CEA-0127-6C44-1F0BE336FF8F}"/>
              </a:ext>
            </a:extLst>
          </p:cNvPr>
          <p:cNvSpPr>
            <a:spLocks noGrp="1"/>
          </p:cNvSpPr>
          <p:nvPr>
            <p:ph type="title"/>
          </p:nvPr>
        </p:nvSpPr>
        <p:spPr>
          <a:xfrm>
            <a:off x="2666131" y="312961"/>
            <a:ext cx="6948310" cy="533400"/>
          </a:xfrm>
        </p:spPr>
        <p:txBody>
          <a:bodyPr vert="horz"/>
          <a:lstStyle/>
          <a:p>
            <a:pPr algn="ctr"/>
            <a:r>
              <a:rPr lang="en-IN" sz="3600" b="1">
                <a:latin typeface="Source Sans Pro" panose="020B0503030403020204" pitchFamily="34" charset="0"/>
                <a:ea typeface="Source Sans Pro" panose="020B0503030403020204" pitchFamily="34" charset="0"/>
              </a:rPr>
              <a:t>Green Shipping Initiatives</a:t>
            </a:r>
          </a:p>
        </p:txBody>
      </p:sp>
      <p:sp>
        <p:nvSpPr>
          <p:cNvPr id="36" name="Google Shape;653;p25">
            <a:extLst>
              <a:ext uri="{FF2B5EF4-FFF2-40B4-BE49-F238E27FC236}">
                <a16:creationId xmlns:a16="http://schemas.microsoft.com/office/drawing/2014/main" id="{2B984789-80F6-D0DD-8DC5-7639ED0DB7C7}"/>
              </a:ext>
            </a:extLst>
          </p:cNvPr>
          <p:cNvSpPr/>
          <p:nvPr/>
        </p:nvSpPr>
        <p:spPr>
          <a:xfrm>
            <a:off x="6807471" y="936914"/>
            <a:ext cx="4420415" cy="533400"/>
          </a:xfrm>
          <a:prstGeom prst="roundRect">
            <a:avLst>
              <a:gd name="adj" fmla="val 16667"/>
            </a:avLst>
          </a:prstGeom>
          <a:solidFill>
            <a:schemeClr val="lt1">
              <a:alpha val="49803"/>
            </a:schemeClr>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rPr>
              <a:t>Structured Roadmap for decarbonization </a:t>
            </a:r>
            <a:endParaRPr kumimoji="0"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endParaRPr>
          </a:p>
        </p:txBody>
      </p:sp>
      <p:grpSp>
        <p:nvGrpSpPr>
          <p:cNvPr id="37" name="Google Shape;654;p25">
            <a:extLst>
              <a:ext uri="{FF2B5EF4-FFF2-40B4-BE49-F238E27FC236}">
                <a16:creationId xmlns:a16="http://schemas.microsoft.com/office/drawing/2014/main" id="{A2D84813-62BA-A9AF-8B98-92C5429A90DC}"/>
              </a:ext>
            </a:extLst>
          </p:cNvPr>
          <p:cNvGrpSpPr/>
          <p:nvPr/>
        </p:nvGrpSpPr>
        <p:grpSpPr>
          <a:xfrm>
            <a:off x="3454523" y="1038492"/>
            <a:ext cx="5168324" cy="5418666"/>
            <a:chOff x="1479837" y="0"/>
            <a:chExt cx="5168324" cy="5418666"/>
          </a:xfrm>
        </p:grpSpPr>
        <p:sp>
          <p:nvSpPr>
            <p:cNvPr id="38" name="Google Shape;655;p25">
              <a:extLst>
                <a:ext uri="{FF2B5EF4-FFF2-40B4-BE49-F238E27FC236}">
                  <a16:creationId xmlns:a16="http://schemas.microsoft.com/office/drawing/2014/main" id="{F929D0EF-7D8A-F8CB-6143-8721611553D1}"/>
                </a:ext>
              </a:extLst>
            </p:cNvPr>
            <p:cNvSpPr/>
            <p:nvPr/>
          </p:nvSpPr>
          <p:spPr>
            <a:xfrm>
              <a:off x="2952810" y="1748061"/>
              <a:ext cx="2221862" cy="1922001"/>
            </a:xfrm>
            <a:prstGeom prst="hexagon">
              <a:avLst>
                <a:gd name="adj" fmla="val 28570"/>
                <a:gd name="vf" fmla="val 115470"/>
              </a:avLst>
            </a:prstGeom>
            <a:solidFill>
              <a:schemeClr val="bg2"/>
            </a:solidFill>
            <a:ln w="127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spc="50" normalizeH="0" baseline="0" noProof="0">
                <a:ln w="0"/>
                <a:solidFill>
                  <a:schemeClr val="bg2"/>
                </a:solidFill>
                <a:effectLst>
                  <a:innerShdw blurRad="63500" dist="50800" dir="13500000">
                    <a:srgbClr val="000000">
                      <a:alpha val="50000"/>
                    </a:srgbClr>
                  </a:innerShdw>
                </a:effectLst>
                <a:uLnTx/>
                <a:uFillTx/>
                <a:latin typeface="Source Sans Pro" panose="020B0503030403020204" pitchFamily="34" charset="0"/>
                <a:ea typeface="Source Sans Pro" panose="020B0503030403020204" pitchFamily="34" charset="0"/>
                <a:cs typeface="Arial"/>
                <a:sym typeface="Arial"/>
              </a:endParaRPr>
            </a:p>
          </p:txBody>
        </p:sp>
        <p:sp>
          <p:nvSpPr>
            <p:cNvPr id="39" name="Google Shape;656;p25">
              <a:extLst>
                <a:ext uri="{FF2B5EF4-FFF2-40B4-BE49-F238E27FC236}">
                  <a16:creationId xmlns:a16="http://schemas.microsoft.com/office/drawing/2014/main" id="{E9790B89-B5ED-78A2-A783-DCB93F5F2564}"/>
                </a:ext>
              </a:extLst>
            </p:cNvPr>
            <p:cNvSpPr txBox="1"/>
            <p:nvPr/>
          </p:nvSpPr>
          <p:spPr>
            <a:xfrm>
              <a:off x="3321004" y="2066564"/>
              <a:ext cx="1485474" cy="1284995"/>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i="0" u="none" strike="noStrike" kern="0" cap="none" spc="0" normalizeH="0" baseline="0" noProof="0">
                  <a:solidFill>
                    <a:srgbClr val="000000"/>
                  </a:solidFill>
                  <a:effectLst/>
                  <a:uLnTx/>
                  <a:uFillTx/>
                  <a:latin typeface="Source Sans Pro" panose="020B0503030403020204" pitchFamily="34" charset="0"/>
                  <a:ea typeface="Source Sans Pro" panose="020B0503030403020204" pitchFamily="34" charset="0"/>
                  <a:cs typeface="Arial"/>
                  <a:sym typeface="Arial"/>
                </a:rPr>
                <a:t>Green Shipping</a:t>
              </a:r>
              <a:endParaRPr kumimoji="0" sz="1400" i="0" u="none" strike="noStrike" kern="0" cap="none" spc="0" normalizeH="0" baseline="0" noProof="0">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0" name="Google Shape;657;p25">
              <a:extLst>
                <a:ext uri="{FF2B5EF4-FFF2-40B4-BE49-F238E27FC236}">
                  <a16:creationId xmlns:a16="http://schemas.microsoft.com/office/drawing/2014/main" id="{349EC400-71CD-265B-DE9C-1C8926D1CBCC}"/>
                </a:ext>
              </a:extLst>
            </p:cNvPr>
            <p:cNvSpPr/>
            <p:nvPr/>
          </p:nvSpPr>
          <p:spPr>
            <a:xfrm>
              <a:off x="4344123" y="828514"/>
              <a:ext cx="838302" cy="722308"/>
            </a:xfrm>
            <a:prstGeom prst="hexagon">
              <a:avLst>
                <a:gd name="adj" fmla="val 28900"/>
                <a:gd name="vf" fmla="val 115470"/>
              </a:avLst>
            </a:prstGeom>
            <a:gradFill>
              <a:gsLst>
                <a:gs pos="0">
                  <a:srgbClr val="D1D9D1"/>
                </a:gs>
                <a:gs pos="50000">
                  <a:srgbClr val="CAD3CA"/>
                </a:gs>
                <a:gs pos="100000">
                  <a:srgbClr val="B1BAB1"/>
                </a:gs>
              </a:gsLst>
              <a:lin ang="5400000" scaled="0"/>
            </a:gra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1" name="Google Shape;658;p25">
              <a:extLst>
                <a:ext uri="{FF2B5EF4-FFF2-40B4-BE49-F238E27FC236}">
                  <a16:creationId xmlns:a16="http://schemas.microsoft.com/office/drawing/2014/main" id="{BF254F31-057C-5C06-83EC-E33A376CC28A}"/>
                </a:ext>
              </a:extLst>
            </p:cNvPr>
            <p:cNvSpPr/>
            <p:nvPr/>
          </p:nvSpPr>
          <p:spPr>
            <a:xfrm>
              <a:off x="3157475" y="0"/>
              <a:ext cx="1820800" cy="1575206"/>
            </a:xfrm>
            <a:prstGeom prst="hexagon">
              <a:avLst>
                <a:gd name="adj" fmla="val 28570"/>
                <a:gd name="vf" fmla="val 115470"/>
              </a:avLst>
            </a:prstGeom>
            <a:solidFill>
              <a:schemeClr val="bg2"/>
            </a:solidFill>
            <a:ln w="127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spc="50" normalizeH="0" baseline="0" noProof="0">
                <a:ln w="0"/>
                <a:solidFill>
                  <a:schemeClr val="bg2"/>
                </a:solidFill>
                <a:effectLst>
                  <a:innerShdw blurRad="63500" dist="50800" dir="13500000">
                    <a:srgbClr val="000000">
                      <a:alpha val="50000"/>
                    </a:srgbClr>
                  </a:innerShdw>
                </a:effectLst>
                <a:uLnTx/>
                <a:uFillTx/>
                <a:latin typeface="Source Sans Pro" panose="020B0503030403020204" pitchFamily="34" charset="0"/>
                <a:ea typeface="Source Sans Pro" panose="020B0503030403020204" pitchFamily="34" charset="0"/>
                <a:cs typeface="Arial"/>
                <a:sym typeface="Arial"/>
              </a:endParaRPr>
            </a:p>
          </p:txBody>
        </p:sp>
        <p:sp>
          <p:nvSpPr>
            <p:cNvPr id="42" name="Google Shape;659;p25">
              <a:extLst>
                <a:ext uri="{FF2B5EF4-FFF2-40B4-BE49-F238E27FC236}">
                  <a16:creationId xmlns:a16="http://schemas.microsoft.com/office/drawing/2014/main" id="{8A2ED55A-53F6-8F1E-062B-0488B6862B1C}"/>
                </a:ext>
              </a:extLst>
            </p:cNvPr>
            <p:cNvSpPr txBox="1"/>
            <p:nvPr/>
          </p:nvSpPr>
          <p:spPr>
            <a:xfrm>
              <a:off x="3459220" y="261045"/>
              <a:ext cx="1217310" cy="1053116"/>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rPr>
                <a:t>NGSP</a:t>
              </a:r>
              <a:endParaRPr kumimoji="0"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3" name="Google Shape;660;p25">
              <a:extLst>
                <a:ext uri="{FF2B5EF4-FFF2-40B4-BE49-F238E27FC236}">
                  <a16:creationId xmlns:a16="http://schemas.microsoft.com/office/drawing/2014/main" id="{FF42D80C-3A58-EB89-0C5F-836171BAEB79}"/>
                </a:ext>
              </a:extLst>
            </p:cNvPr>
            <p:cNvSpPr/>
            <p:nvPr/>
          </p:nvSpPr>
          <p:spPr>
            <a:xfrm>
              <a:off x="5322487" y="2178846"/>
              <a:ext cx="838302" cy="722308"/>
            </a:xfrm>
            <a:prstGeom prst="hexagon">
              <a:avLst>
                <a:gd name="adj" fmla="val 28900"/>
                <a:gd name="vf" fmla="val 115470"/>
              </a:avLst>
            </a:prstGeom>
            <a:gradFill>
              <a:gsLst>
                <a:gs pos="0">
                  <a:srgbClr val="D1D9D1"/>
                </a:gs>
                <a:gs pos="50000">
                  <a:srgbClr val="CAD3CA"/>
                </a:gs>
                <a:gs pos="100000">
                  <a:srgbClr val="B1BAB1"/>
                </a:gs>
              </a:gsLst>
              <a:lin ang="5400000" scaled="0"/>
            </a:gra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4" name="Google Shape;661;p25">
              <a:extLst>
                <a:ext uri="{FF2B5EF4-FFF2-40B4-BE49-F238E27FC236}">
                  <a16:creationId xmlns:a16="http://schemas.microsoft.com/office/drawing/2014/main" id="{D770664D-8A21-F27D-26CF-2651E98893CC}"/>
                </a:ext>
              </a:extLst>
            </p:cNvPr>
            <p:cNvSpPr/>
            <p:nvPr/>
          </p:nvSpPr>
          <p:spPr>
            <a:xfrm>
              <a:off x="4827361" y="968857"/>
              <a:ext cx="1820800" cy="1575206"/>
            </a:xfrm>
            <a:prstGeom prst="hexagon">
              <a:avLst>
                <a:gd name="adj" fmla="val 28570"/>
                <a:gd name="vf" fmla="val 115470"/>
              </a:avLst>
            </a:prstGeom>
            <a:solidFill>
              <a:schemeClr val="bg2"/>
            </a:solidFill>
            <a:ln w="127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spc="50" normalizeH="0" baseline="0" noProof="0">
                <a:ln w="0"/>
                <a:solidFill>
                  <a:schemeClr val="bg2"/>
                </a:solidFill>
                <a:effectLst>
                  <a:innerShdw blurRad="63500" dist="50800" dir="13500000">
                    <a:srgbClr val="000000">
                      <a:alpha val="50000"/>
                    </a:srgbClr>
                  </a:innerShdw>
                </a:effectLst>
                <a:uLnTx/>
                <a:uFillTx/>
                <a:latin typeface="Source Sans Pro" panose="020B0503030403020204" pitchFamily="34" charset="0"/>
                <a:ea typeface="Source Sans Pro" panose="020B0503030403020204" pitchFamily="34" charset="0"/>
                <a:cs typeface="Arial"/>
                <a:sym typeface="Arial"/>
              </a:endParaRPr>
            </a:p>
          </p:txBody>
        </p:sp>
        <p:sp>
          <p:nvSpPr>
            <p:cNvPr id="45" name="Google Shape;662;p25">
              <a:extLst>
                <a:ext uri="{FF2B5EF4-FFF2-40B4-BE49-F238E27FC236}">
                  <a16:creationId xmlns:a16="http://schemas.microsoft.com/office/drawing/2014/main" id="{B1A68358-B46F-C949-A5FD-A8625399662A}"/>
                </a:ext>
              </a:extLst>
            </p:cNvPr>
            <p:cNvSpPr txBox="1"/>
            <p:nvPr/>
          </p:nvSpPr>
          <p:spPr>
            <a:xfrm>
              <a:off x="5129106" y="1229902"/>
              <a:ext cx="1217310" cy="1053116"/>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rPr>
                <a:t>Alternate Fuel Transition</a:t>
              </a:r>
              <a:endParaRPr kumimoji="0"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6" name="Google Shape;663;p25">
              <a:extLst>
                <a:ext uri="{FF2B5EF4-FFF2-40B4-BE49-F238E27FC236}">
                  <a16:creationId xmlns:a16="http://schemas.microsoft.com/office/drawing/2014/main" id="{D66E25B0-BF66-F42B-4B23-0D3066D1E671}"/>
                </a:ext>
              </a:extLst>
            </p:cNvPr>
            <p:cNvSpPr/>
            <p:nvPr/>
          </p:nvSpPr>
          <p:spPr>
            <a:xfrm>
              <a:off x="4642852" y="3703117"/>
              <a:ext cx="838302" cy="722308"/>
            </a:xfrm>
            <a:prstGeom prst="hexagon">
              <a:avLst>
                <a:gd name="adj" fmla="val 28900"/>
                <a:gd name="vf" fmla="val 115470"/>
              </a:avLst>
            </a:prstGeom>
            <a:gradFill>
              <a:gsLst>
                <a:gs pos="0">
                  <a:srgbClr val="D1D9D1"/>
                </a:gs>
                <a:gs pos="50000">
                  <a:srgbClr val="CAD3CA"/>
                </a:gs>
                <a:gs pos="100000">
                  <a:srgbClr val="B1BAB1"/>
                </a:gs>
              </a:gsLst>
              <a:lin ang="5400000" scaled="0"/>
            </a:gra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7" name="Google Shape;664;p25">
              <a:extLst>
                <a:ext uri="{FF2B5EF4-FFF2-40B4-BE49-F238E27FC236}">
                  <a16:creationId xmlns:a16="http://schemas.microsoft.com/office/drawing/2014/main" id="{1ECB90BF-3979-7F9C-53D7-AA286BF1F03B}"/>
                </a:ext>
              </a:extLst>
            </p:cNvPr>
            <p:cNvSpPr/>
            <p:nvPr/>
          </p:nvSpPr>
          <p:spPr>
            <a:xfrm>
              <a:off x="4827361" y="2873519"/>
              <a:ext cx="1820800" cy="1575206"/>
            </a:xfrm>
            <a:prstGeom prst="hexagon">
              <a:avLst>
                <a:gd name="adj" fmla="val 28570"/>
                <a:gd name="vf" fmla="val 115470"/>
              </a:avLst>
            </a:prstGeom>
            <a:solidFill>
              <a:schemeClr val="bg2"/>
            </a:solidFill>
            <a:ln w="127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spc="50" normalizeH="0" baseline="0" noProof="0">
                <a:ln w="0"/>
                <a:solidFill>
                  <a:schemeClr val="bg2"/>
                </a:solidFill>
                <a:effectLst>
                  <a:innerShdw blurRad="63500" dist="50800" dir="13500000">
                    <a:srgbClr val="000000">
                      <a:alpha val="50000"/>
                    </a:srgbClr>
                  </a:innerShdw>
                </a:effectLst>
                <a:uLnTx/>
                <a:uFillTx/>
                <a:latin typeface="Source Sans Pro" panose="020B0503030403020204" pitchFamily="34" charset="0"/>
                <a:ea typeface="Source Sans Pro" panose="020B0503030403020204" pitchFamily="34" charset="0"/>
                <a:cs typeface="Arial"/>
                <a:sym typeface="Arial"/>
              </a:endParaRPr>
            </a:p>
          </p:txBody>
        </p:sp>
        <p:sp>
          <p:nvSpPr>
            <p:cNvPr id="48" name="Google Shape;665;p25">
              <a:extLst>
                <a:ext uri="{FF2B5EF4-FFF2-40B4-BE49-F238E27FC236}">
                  <a16:creationId xmlns:a16="http://schemas.microsoft.com/office/drawing/2014/main" id="{7B502CA4-2F5D-B7CD-443E-49D3C2F17501}"/>
                </a:ext>
              </a:extLst>
            </p:cNvPr>
            <p:cNvSpPr txBox="1"/>
            <p:nvPr/>
          </p:nvSpPr>
          <p:spPr>
            <a:xfrm>
              <a:off x="5129106" y="3134564"/>
              <a:ext cx="1217310" cy="1053116"/>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rPr>
                <a:t>Sustainability Indexing of Ships</a:t>
              </a:r>
              <a:endParaRPr kumimoji="0"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49" name="Google Shape;666;p25">
              <a:extLst>
                <a:ext uri="{FF2B5EF4-FFF2-40B4-BE49-F238E27FC236}">
                  <a16:creationId xmlns:a16="http://schemas.microsoft.com/office/drawing/2014/main" id="{346E4DDD-038E-DEB3-8A6D-493F23D11780}"/>
                </a:ext>
              </a:extLst>
            </p:cNvPr>
            <p:cNvSpPr/>
            <p:nvPr/>
          </p:nvSpPr>
          <p:spPr>
            <a:xfrm>
              <a:off x="2956944" y="3861342"/>
              <a:ext cx="838302" cy="722308"/>
            </a:xfrm>
            <a:prstGeom prst="hexagon">
              <a:avLst>
                <a:gd name="adj" fmla="val 28900"/>
                <a:gd name="vf" fmla="val 115470"/>
              </a:avLst>
            </a:prstGeom>
            <a:gradFill>
              <a:gsLst>
                <a:gs pos="0">
                  <a:srgbClr val="D1D9D1"/>
                </a:gs>
                <a:gs pos="50000">
                  <a:srgbClr val="CAD3CA"/>
                </a:gs>
                <a:gs pos="100000">
                  <a:srgbClr val="B1BAB1"/>
                </a:gs>
              </a:gsLst>
              <a:lin ang="5400000" scaled="0"/>
            </a:gra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0" name="Google Shape;667;p25">
              <a:extLst>
                <a:ext uri="{FF2B5EF4-FFF2-40B4-BE49-F238E27FC236}">
                  <a16:creationId xmlns:a16="http://schemas.microsoft.com/office/drawing/2014/main" id="{88B84D11-45F0-C739-2A5E-CF0D3603A85A}"/>
                </a:ext>
              </a:extLst>
            </p:cNvPr>
            <p:cNvSpPr/>
            <p:nvPr/>
          </p:nvSpPr>
          <p:spPr>
            <a:xfrm>
              <a:off x="3157475" y="3843460"/>
              <a:ext cx="1820800" cy="1575206"/>
            </a:xfrm>
            <a:prstGeom prst="hexagon">
              <a:avLst>
                <a:gd name="adj" fmla="val 28570"/>
                <a:gd name="vf" fmla="val 115470"/>
              </a:avLst>
            </a:prstGeom>
            <a:solidFill>
              <a:schemeClr val="bg2"/>
            </a:solidFill>
            <a:ln w="127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spc="50" normalizeH="0" baseline="0" noProof="0">
                <a:ln w="0"/>
                <a:solidFill>
                  <a:schemeClr val="bg2"/>
                </a:solidFill>
                <a:effectLst>
                  <a:innerShdw blurRad="63500" dist="50800" dir="13500000">
                    <a:srgbClr val="000000">
                      <a:alpha val="50000"/>
                    </a:srgbClr>
                  </a:innerShdw>
                </a:effectLst>
                <a:uLnTx/>
                <a:uFillTx/>
                <a:latin typeface="Source Sans Pro" panose="020B0503030403020204" pitchFamily="34" charset="0"/>
                <a:ea typeface="Source Sans Pro" panose="020B0503030403020204" pitchFamily="34" charset="0"/>
                <a:cs typeface="Arial"/>
                <a:sym typeface="Arial"/>
              </a:endParaRPr>
            </a:p>
          </p:txBody>
        </p:sp>
        <p:sp>
          <p:nvSpPr>
            <p:cNvPr id="51" name="Google Shape;668;p25">
              <a:extLst>
                <a:ext uri="{FF2B5EF4-FFF2-40B4-BE49-F238E27FC236}">
                  <a16:creationId xmlns:a16="http://schemas.microsoft.com/office/drawing/2014/main" id="{D28D9E92-D569-0CC2-7E67-9B7CD440EC56}"/>
                </a:ext>
              </a:extLst>
            </p:cNvPr>
            <p:cNvSpPr txBox="1"/>
            <p:nvPr/>
          </p:nvSpPr>
          <p:spPr>
            <a:xfrm>
              <a:off x="3459220" y="4104505"/>
              <a:ext cx="1217310" cy="1053116"/>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i="0" u="none" strike="noStrike" kern="0" cap="none" spc="0" normalizeH="0" baseline="0" noProof="0">
                  <a:solidFill>
                    <a:srgbClr val="000000"/>
                  </a:solidFill>
                  <a:effectLst/>
                  <a:uLnTx/>
                  <a:uFillTx/>
                  <a:latin typeface="Source Sans Pro" panose="020B0503030403020204" pitchFamily="34" charset="0"/>
                  <a:ea typeface="Source Sans Pro" panose="020B0503030403020204" pitchFamily="34" charset="0"/>
                  <a:cs typeface="Arial"/>
                  <a:sym typeface="Arial"/>
                </a:rPr>
                <a:t>Shore Power (OPS)</a:t>
              </a:r>
              <a:r>
                <a:rPr kumimoji="0" lang="en-IN" sz="1400" i="0" u="none" strike="noStrike" kern="0" cap="none" spc="0" normalizeH="0" baseline="0" noProof="0">
                  <a:solidFill>
                    <a:srgbClr val="FFFFFF"/>
                  </a:solidFill>
                  <a:effectLst/>
                  <a:uLnTx/>
                  <a:uFillTx/>
                  <a:latin typeface="Source Sans Pro" panose="020B0503030403020204" pitchFamily="34" charset="0"/>
                  <a:ea typeface="Source Sans Pro" panose="020B0503030403020204" pitchFamily="34" charset="0"/>
                  <a:cs typeface="Arial"/>
                  <a:sym typeface="Arial"/>
                </a:rPr>
                <a:t>)</a:t>
              </a:r>
              <a:endParaRPr kumimoji="0" sz="1400" i="0" u="none" strike="noStrike" kern="0" cap="none" spc="0" normalizeH="0" baseline="0" noProof="0">
                <a:solidFill>
                  <a:srgbClr val="FFFFFF"/>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2" name="Google Shape;669;p25">
              <a:extLst>
                <a:ext uri="{FF2B5EF4-FFF2-40B4-BE49-F238E27FC236}">
                  <a16:creationId xmlns:a16="http://schemas.microsoft.com/office/drawing/2014/main" id="{6CBC0B05-1B7A-7CF3-85B2-11C1DD31D121}"/>
                </a:ext>
              </a:extLst>
            </p:cNvPr>
            <p:cNvSpPr/>
            <p:nvPr/>
          </p:nvSpPr>
          <p:spPr>
            <a:xfrm>
              <a:off x="1962559" y="2511552"/>
              <a:ext cx="838302" cy="722308"/>
            </a:xfrm>
            <a:prstGeom prst="hexagon">
              <a:avLst>
                <a:gd name="adj" fmla="val 28900"/>
                <a:gd name="vf" fmla="val 115470"/>
              </a:avLst>
            </a:prstGeom>
            <a:gradFill>
              <a:gsLst>
                <a:gs pos="0">
                  <a:srgbClr val="D1D9D1"/>
                </a:gs>
                <a:gs pos="50000">
                  <a:srgbClr val="CAD3CA"/>
                </a:gs>
                <a:gs pos="100000">
                  <a:srgbClr val="B1BAB1"/>
                </a:gs>
              </a:gsLst>
              <a:lin ang="5400000" scaled="0"/>
            </a:gra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3" name="Google Shape;670;p25">
              <a:extLst>
                <a:ext uri="{FF2B5EF4-FFF2-40B4-BE49-F238E27FC236}">
                  <a16:creationId xmlns:a16="http://schemas.microsoft.com/office/drawing/2014/main" id="{33339430-CDE1-EAC2-9123-BED29CC63BE4}"/>
                </a:ext>
              </a:extLst>
            </p:cNvPr>
            <p:cNvSpPr/>
            <p:nvPr/>
          </p:nvSpPr>
          <p:spPr>
            <a:xfrm>
              <a:off x="1479837" y="2874602"/>
              <a:ext cx="1820800" cy="1575206"/>
            </a:xfrm>
            <a:prstGeom prst="hexagon">
              <a:avLst>
                <a:gd name="adj" fmla="val 28570"/>
                <a:gd name="vf" fmla="val 115470"/>
              </a:avLst>
            </a:prstGeom>
            <a:solidFill>
              <a:schemeClr val="accent4">
                <a:lumMod val="20000"/>
                <a:lumOff val="80000"/>
              </a:schemeClr>
            </a:solidFill>
            <a:ln w="57150" cap="flat" cmpd="sng">
              <a:solidFill>
                <a:srgbClr val="0C351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4" name="Google Shape;671;p25">
              <a:extLst>
                <a:ext uri="{FF2B5EF4-FFF2-40B4-BE49-F238E27FC236}">
                  <a16:creationId xmlns:a16="http://schemas.microsoft.com/office/drawing/2014/main" id="{A4D59C32-CFE1-155A-D2E2-8726724EE5D0}"/>
                </a:ext>
              </a:extLst>
            </p:cNvPr>
            <p:cNvSpPr txBox="1"/>
            <p:nvPr/>
          </p:nvSpPr>
          <p:spPr>
            <a:xfrm>
              <a:off x="1781582" y="3135647"/>
              <a:ext cx="1217310" cy="1053116"/>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b="1"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rPr>
                <a:t>Ship Recycling</a:t>
              </a:r>
              <a:endParaRPr kumimoji="0" sz="1400" b="1"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5" name="Google Shape;672;p25">
              <a:extLst>
                <a:ext uri="{FF2B5EF4-FFF2-40B4-BE49-F238E27FC236}">
                  <a16:creationId xmlns:a16="http://schemas.microsoft.com/office/drawing/2014/main" id="{AA9CF227-5C18-7491-9E96-BBE03E70363B}"/>
                </a:ext>
              </a:extLst>
            </p:cNvPr>
            <p:cNvSpPr/>
            <p:nvPr/>
          </p:nvSpPr>
          <p:spPr>
            <a:xfrm>
              <a:off x="1479837" y="966690"/>
              <a:ext cx="1820800" cy="1575206"/>
            </a:xfrm>
            <a:prstGeom prst="hexagon">
              <a:avLst>
                <a:gd name="adj" fmla="val 28570"/>
                <a:gd name="vf" fmla="val 115470"/>
              </a:avLst>
            </a:prstGeom>
            <a:solidFill>
              <a:schemeClr val="bg2"/>
            </a:solidFill>
            <a:ln w="127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spc="50" normalizeH="0" baseline="0" noProof="0">
                <a:ln w="0"/>
                <a:solidFill>
                  <a:schemeClr val="bg2"/>
                </a:solidFill>
                <a:effectLst>
                  <a:innerShdw blurRad="63500" dist="50800" dir="13500000">
                    <a:srgbClr val="000000">
                      <a:alpha val="50000"/>
                    </a:srgbClr>
                  </a:innerShdw>
                </a:effectLst>
                <a:uLnTx/>
                <a:uFillTx/>
                <a:latin typeface="Source Sans Pro" panose="020B0503030403020204" pitchFamily="34" charset="0"/>
                <a:ea typeface="Source Sans Pro" panose="020B0503030403020204" pitchFamily="34" charset="0"/>
                <a:cs typeface="Arial"/>
                <a:sym typeface="Arial"/>
              </a:endParaRPr>
            </a:p>
          </p:txBody>
        </p:sp>
        <p:sp>
          <p:nvSpPr>
            <p:cNvPr id="56" name="Google Shape;673;p25">
              <a:extLst>
                <a:ext uri="{FF2B5EF4-FFF2-40B4-BE49-F238E27FC236}">
                  <a16:creationId xmlns:a16="http://schemas.microsoft.com/office/drawing/2014/main" id="{138B157B-5040-6DE3-2481-DD95DD6B1D1D}"/>
                </a:ext>
              </a:extLst>
            </p:cNvPr>
            <p:cNvSpPr txBox="1"/>
            <p:nvPr/>
          </p:nvSpPr>
          <p:spPr>
            <a:xfrm>
              <a:off x="1781582" y="1227735"/>
              <a:ext cx="1217310" cy="1053116"/>
            </a:xfrm>
            <a:prstGeom prst="rect">
              <a:avLst/>
            </a:prstGeom>
            <a:noFill/>
            <a:ln>
              <a:noFill/>
            </a:ln>
          </p:spPr>
          <p:txBody>
            <a:bodyPr spcFirstLastPara="1" wrap="square" lIns="17775" tIns="17775" rIns="17775" bIns="1777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IN"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rPr>
                <a:t>National Port Sustainability Council (NPSC)</a:t>
              </a:r>
              <a:endParaRPr kumimoji="0" sz="140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p:txBody>
        </p:sp>
      </p:grpSp>
      <p:sp>
        <p:nvSpPr>
          <p:cNvPr id="57" name="Google Shape;674;p25">
            <a:extLst>
              <a:ext uri="{FF2B5EF4-FFF2-40B4-BE49-F238E27FC236}">
                <a16:creationId xmlns:a16="http://schemas.microsoft.com/office/drawing/2014/main" id="{C14AD521-8267-DE0D-4115-FE23ED9C6D09}"/>
              </a:ext>
            </a:extLst>
          </p:cNvPr>
          <p:cNvSpPr/>
          <p:nvPr/>
        </p:nvSpPr>
        <p:spPr>
          <a:xfrm>
            <a:off x="8705543" y="2323569"/>
            <a:ext cx="3192252" cy="533400"/>
          </a:xfrm>
          <a:prstGeom prst="roundRect">
            <a:avLst>
              <a:gd name="adj" fmla="val 16667"/>
            </a:avLst>
          </a:prstGeom>
          <a:solidFill>
            <a:schemeClr val="lt1">
              <a:alpha val="49803"/>
            </a:schemeClr>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rPr>
              <a:t>Guidelines for LNG, Biofuels, Methanol, Ammonia  </a:t>
            </a:r>
            <a:endParaRPr kumimoji="0"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8" name="Google Shape;675;p25">
            <a:extLst>
              <a:ext uri="{FF2B5EF4-FFF2-40B4-BE49-F238E27FC236}">
                <a16:creationId xmlns:a16="http://schemas.microsoft.com/office/drawing/2014/main" id="{CDA006EE-DBA3-EA9A-65D6-EBC0C907A2B1}"/>
              </a:ext>
            </a:extLst>
          </p:cNvPr>
          <p:cNvSpPr/>
          <p:nvPr/>
        </p:nvSpPr>
        <p:spPr>
          <a:xfrm>
            <a:off x="8705543" y="4281746"/>
            <a:ext cx="3402515" cy="533400"/>
          </a:xfrm>
          <a:prstGeom prst="roundRect">
            <a:avLst>
              <a:gd name="adj" fmla="val 16667"/>
            </a:avLst>
          </a:prstGeom>
          <a:solidFill>
            <a:schemeClr val="lt1">
              <a:alpha val="49803"/>
            </a:schemeClr>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rPr>
              <a:t>Structure  to rate ships on their environmental performance, linked to age norms.</a:t>
            </a:r>
            <a:endParaRPr kumimoji="0"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59" name="Google Shape;676;p25">
            <a:extLst>
              <a:ext uri="{FF2B5EF4-FFF2-40B4-BE49-F238E27FC236}">
                <a16:creationId xmlns:a16="http://schemas.microsoft.com/office/drawing/2014/main" id="{7F02AE09-D7A1-C9C8-E9EF-0FC8015A2930}"/>
              </a:ext>
            </a:extLst>
          </p:cNvPr>
          <p:cNvSpPr/>
          <p:nvPr/>
        </p:nvSpPr>
        <p:spPr>
          <a:xfrm>
            <a:off x="7071556" y="5834810"/>
            <a:ext cx="4420415" cy="533400"/>
          </a:xfrm>
          <a:prstGeom prst="roundRect">
            <a:avLst>
              <a:gd name="adj" fmla="val 16667"/>
            </a:avLst>
          </a:prstGeom>
          <a:solidFill>
            <a:schemeClr val="lt1">
              <a:alpha val="49803"/>
            </a:schemeClr>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rPr>
              <a:t>Use of clean shore electricity by ships while berthed at port, reducing fuel combustion &amp; emissions.</a:t>
            </a:r>
            <a:endParaRPr kumimoji="0" sz="15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60" name="Google Shape;677;p25">
            <a:extLst>
              <a:ext uri="{FF2B5EF4-FFF2-40B4-BE49-F238E27FC236}">
                <a16:creationId xmlns:a16="http://schemas.microsoft.com/office/drawing/2014/main" id="{80AAEBDA-6846-3022-543D-3937E14DECA4}"/>
              </a:ext>
            </a:extLst>
          </p:cNvPr>
          <p:cNvSpPr/>
          <p:nvPr/>
        </p:nvSpPr>
        <p:spPr>
          <a:xfrm>
            <a:off x="338097" y="4741390"/>
            <a:ext cx="3108565" cy="1352047"/>
          </a:xfrm>
          <a:prstGeom prst="roundRect">
            <a:avLst>
              <a:gd name="adj" fmla="val 16667"/>
            </a:avLst>
          </a:prstGeom>
          <a:solidFill>
            <a:srgbClr val="CAF2FF"/>
          </a:solidFill>
          <a:ln w="9525" cap="flat" cmpd="sng">
            <a:solidFill>
              <a:schemeClr val="tx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400" b="1"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rPr>
              <a:t>With the Hong Kong Convention now in force, India leads globally with 115 compliant yards at Alang.</a:t>
            </a:r>
            <a:endParaRPr kumimoji="0" sz="1600" b="1"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endParaRPr>
          </a:p>
        </p:txBody>
      </p:sp>
      <p:sp>
        <p:nvSpPr>
          <p:cNvPr id="61" name="Google Shape;678;p25">
            <a:extLst>
              <a:ext uri="{FF2B5EF4-FFF2-40B4-BE49-F238E27FC236}">
                <a16:creationId xmlns:a16="http://schemas.microsoft.com/office/drawing/2014/main" id="{33567A62-91BF-72B4-24A5-3DCA8558819C}"/>
              </a:ext>
            </a:extLst>
          </p:cNvPr>
          <p:cNvSpPr/>
          <p:nvPr/>
        </p:nvSpPr>
        <p:spPr>
          <a:xfrm>
            <a:off x="502710" y="2323569"/>
            <a:ext cx="2943952" cy="533400"/>
          </a:xfrm>
          <a:prstGeom prst="roundRect">
            <a:avLst>
              <a:gd name="adj" fmla="val 16667"/>
            </a:avLst>
          </a:prstGeom>
          <a:solidFill>
            <a:schemeClr val="lt1">
              <a:alpha val="49803"/>
            </a:schemeClr>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4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rPr>
              <a:t>NPSC metrics include Green Port Index (GPI), Port Readiness Level (PRL), Smart Port Shore Power Index (SPSPI), Environmental Ship Index (ESI), and GHG Emissions Inventory to benchmark sustainability and readiness of Indian ports</a:t>
            </a:r>
            <a:endParaRPr kumimoji="0" sz="1600" i="0" u="none" strike="noStrike" kern="0" cap="none" spc="0" normalizeH="0" baseline="0" noProof="0">
              <a:ln>
                <a:noFill/>
              </a:ln>
              <a:solidFill>
                <a:srgbClr val="0E2841"/>
              </a:solidFill>
              <a:effectLst/>
              <a:uLnTx/>
              <a:uFillTx/>
              <a:latin typeface="Source Sans Pro" panose="020B0503030403020204" pitchFamily="34" charset="0"/>
              <a:ea typeface="Source Sans Pro" panose="020B0503030403020204" pitchFamily="34" charset="0"/>
              <a:cs typeface="Arial"/>
              <a:sym typeface="Arial"/>
            </a:endParaRPr>
          </a:p>
        </p:txBody>
      </p:sp>
      <p:pic>
        <p:nvPicPr>
          <p:cNvPr id="15" name="Picture 2">
            <a:extLst>
              <a:ext uri="{FF2B5EF4-FFF2-40B4-BE49-F238E27FC236}">
                <a16:creationId xmlns:a16="http://schemas.microsoft.com/office/drawing/2014/main" id="{05C45C5B-D9C4-CEF3-D1AF-3EB6ED92BC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0633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30EC4-84D0-BABE-ADED-0C82E6F9E5A3}"/>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9D57175-0267-72D9-9250-92C7C62250C1}"/>
              </a:ext>
            </a:extLst>
          </p:cNvPr>
          <p:cNvGraphicFramePr>
            <a:graphicFrameLocks noChangeAspect="1"/>
          </p:cNvGraphicFramePr>
          <p:nvPr>
            <p:custDataLst>
              <p:tags r:id="rId1"/>
            </p:custDataLst>
            <p:extLst>
              <p:ext uri="{D42A27DB-BD31-4B8C-83A1-F6EECF244321}">
                <p14:modId xmlns:p14="http://schemas.microsoft.com/office/powerpoint/2010/main" val="468432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12" name="think-cell data - do not delete" hidden="1">
                        <a:extLst>
                          <a:ext uri="{FF2B5EF4-FFF2-40B4-BE49-F238E27FC236}">
                            <a16:creationId xmlns:a16="http://schemas.microsoft.com/office/drawing/2014/main" id="{79D57175-0267-72D9-9250-92C7C6225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B9407C-893D-DDC1-AA3A-EEB03C6563EB}"/>
              </a:ext>
            </a:extLst>
          </p:cNvPr>
          <p:cNvSpPr>
            <a:spLocks noGrp="1"/>
          </p:cNvSpPr>
          <p:nvPr>
            <p:ph type="title"/>
          </p:nvPr>
        </p:nvSpPr>
        <p:spPr>
          <a:xfrm>
            <a:off x="993775" y="436967"/>
            <a:ext cx="10204450" cy="533400"/>
          </a:xfrm>
        </p:spPr>
        <p:txBody>
          <a:bodyPr vert="horz" lIns="0" tIns="0" rIns="0" bIns="0" rtlCol="0" anchor="t" anchorCtr="0">
            <a:noAutofit/>
          </a:bodyPr>
          <a:lstStyle/>
          <a:p>
            <a:pPr algn="ctr"/>
            <a:r>
              <a:rPr lang="en-IN" sz="3600" b="1">
                <a:latin typeface="Source Sans Pro" panose="020B0503030403020204" pitchFamily="34" charset="0"/>
                <a:ea typeface="Source Sans Pro" panose="020B0503030403020204" pitchFamily="34" charset="0"/>
              </a:rPr>
              <a:t>Ship Recycling</a:t>
            </a:r>
          </a:p>
        </p:txBody>
      </p:sp>
      <p:sp>
        <p:nvSpPr>
          <p:cNvPr id="3" name="TextBox 2">
            <a:extLst>
              <a:ext uri="{FF2B5EF4-FFF2-40B4-BE49-F238E27FC236}">
                <a16:creationId xmlns:a16="http://schemas.microsoft.com/office/drawing/2014/main" id="{008CB201-B859-EF2C-B9BF-CB37DB3E3D88}"/>
              </a:ext>
            </a:extLst>
          </p:cNvPr>
          <p:cNvSpPr txBox="1"/>
          <p:nvPr/>
        </p:nvSpPr>
        <p:spPr>
          <a:xfrm>
            <a:off x="263952" y="1184465"/>
            <a:ext cx="7258312" cy="2308324"/>
          </a:xfrm>
          <a:prstGeom prst="rect">
            <a:avLst/>
          </a:prstGeom>
          <a:noFill/>
        </p:spPr>
        <p:txBody>
          <a:bodyPr wrap="square">
            <a:spAutoFit/>
          </a:bodyPr>
          <a:lstStyle/>
          <a:p>
            <a:pPr marL="285750" indent="-285750">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Process of dismantling end-of-life ships to recover steel and other valuable materials.</a:t>
            </a:r>
          </a:p>
          <a:p>
            <a:pPr marL="285750" indent="-285750">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India is a global leader, with  </a:t>
            </a:r>
            <a:r>
              <a:rPr lang="en-US" dirty="0" err="1">
                <a:latin typeface="Times New Roman" panose="02020603050405020304" pitchFamily="18" charset="0"/>
                <a:ea typeface="Source Sans Pro" panose="020B0503030403020204" pitchFamily="34" charset="0"/>
                <a:cs typeface="Times New Roman" panose="02020603050405020304" pitchFamily="18" charset="0"/>
              </a:rPr>
              <a:t>Alang</a:t>
            </a:r>
            <a:r>
              <a:rPr lang="en-US" dirty="0">
                <a:latin typeface="Times New Roman" panose="02020603050405020304" pitchFamily="18" charset="0"/>
                <a:ea typeface="Source Sans Pro" panose="020B0503030403020204" pitchFamily="34" charset="0"/>
                <a:cs typeface="Times New Roman" panose="02020603050405020304" pitchFamily="18" charset="0"/>
              </a:rPr>
              <a:t>–</a:t>
            </a:r>
            <a:r>
              <a:rPr lang="en-US" dirty="0" err="1">
                <a:latin typeface="Times New Roman" panose="02020603050405020304" pitchFamily="18" charset="0"/>
                <a:ea typeface="Source Sans Pro" panose="020B0503030403020204" pitchFamily="34" charset="0"/>
                <a:cs typeface="Times New Roman" panose="02020603050405020304" pitchFamily="18" charset="0"/>
              </a:rPr>
              <a:t>Sosiya</a:t>
            </a:r>
            <a:r>
              <a:rPr lang="en-US" dirty="0">
                <a:latin typeface="Times New Roman" panose="02020603050405020304" pitchFamily="18" charset="0"/>
                <a:ea typeface="Source Sans Pro" panose="020B0503030403020204" pitchFamily="34" charset="0"/>
                <a:cs typeface="Times New Roman" panose="02020603050405020304" pitchFamily="18" charset="0"/>
              </a:rPr>
              <a:t> in Gujarat being the world’s largest ship recycling cluster.</a:t>
            </a:r>
          </a:p>
          <a:p>
            <a:pPr marL="285750" indent="-285750">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Governed internationally by the Hong Kong Convention (HKC), which came into force on 26 June 2025.</a:t>
            </a:r>
          </a:p>
          <a:p>
            <a:pPr marL="285750" indent="-285750">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Integral to the circular economy, reducing the demand for virgin raw materials</a:t>
            </a:r>
            <a:r>
              <a:rPr lang="en-US" sz="1600" dirty="0">
                <a:latin typeface="Times New Roman" panose="02020603050405020304" pitchFamily="18" charset="0"/>
                <a:ea typeface="Source Sans Pro" panose="020B0503030403020204" pitchFamily="34" charset="0"/>
                <a:cs typeface="Times New Roman" panose="02020603050405020304" pitchFamily="18" charset="0"/>
              </a:rPr>
              <a:t>.  </a:t>
            </a:r>
          </a:p>
        </p:txBody>
      </p:sp>
      <p:sp>
        <p:nvSpPr>
          <p:cNvPr id="4" name="TextBox 3">
            <a:extLst>
              <a:ext uri="{FF2B5EF4-FFF2-40B4-BE49-F238E27FC236}">
                <a16:creationId xmlns:a16="http://schemas.microsoft.com/office/drawing/2014/main" id="{7B642E35-4225-ECBB-5C53-6D49352183CC}"/>
              </a:ext>
            </a:extLst>
          </p:cNvPr>
          <p:cNvSpPr txBox="1"/>
          <p:nvPr/>
        </p:nvSpPr>
        <p:spPr>
          <a:xfrm>
            <a:off x="263952" y="3297101"/>
            <a:ext cx="7258312" cy="3216265"/>
          </a:xfrm>
          <a:prstGeom prst="rect">
            <a:avLst/>
          </a:prstGeom>
          <a:noFill/>
        </p:spPr>
        <p:txBody>
          <a:bodyPr wrap="square">
            <a:spAutoFit/>
          </a:bodyPr>
          <a:lstStyle/>
          <a:p>
            <a:pPr algn="just">
              <a:spcAft>
                <a:spcPts val="600"/>
              </a:spcAft>
            </a:pPr>
            <a:r>
              <a:rPr lang="en-US" b="1" dirty="0">
                <a:latin typeface="Times New Roman" panose="02020603050405020304" pitchFamily="18" charset="0"/>
                <a:ea typeface="Source Sans Pro" panose="020B0503030403020204" pitchFamily="34" charset="0"/>
                <a:cs typeface="Times New Roman" panose="02020603050405020304" pitchFamily="18" charset="0"/>
              </a:rPr>
              <a:t>India’s Role &amp; Importance</a:t>
            </a:r>
          </a:p>
          <a:p>
            <a:pPr marL="285750" indent="-285750" algn="just">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Handles 30% - 35% of global ship recycling tonnage annually.</a:t>
            </a:r>
          </a:p>
          <a:p>
            <a:pPr marL="285750" indent="-285750" algn="just">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Provides 20 - 25% of India’s ferrous scrap requirement, reducing dependence on imports.</a:t>
            </a:r>
          </a:p>
          <a:p>
            <a:pPr marL="285750" indent="-285750" algn="just">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India is the only country with 115+ HKC Compliant Recycling Yards.</a:t>
            </a:r>
          </a:p>
          <a:p>
            <a:pPr marL="285750" indent="-285750" algn="just">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Supplies input material for the Green Steel ecosystem, boosting India’s low-carbon transition.</a:t>
            </a:r>
          </a:p>
          <a:p>
            <a:pPr marL="285750" indent="-285750" algn="just">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Generates direct employment for 15000+ workers and indirect livelihood opportunities for thousands more in logistics, scrap processing, and allied services.</a:t>
            </a:r>
          </a:p>
          <a:p>
            <a:pPr marL="285750" indent="-285750" algn="just">
              <a:buFont typeface="Arial" panose="020B0604020202020204" pitchFamily="34" charset="0"/>
              <a:buChar char="•"/>
            </a:pPr>
            <a:r>
              <a:rPr lang="en-US" dirty="0">
                <a:latin typeface="Times New Roman" panose="02020603050405020304" pitchFamily="18" charset="0"/>
                <a:ea typeface="Source Sans Pro" panose="020B0503030403020204" pitchFamily="34" charset="0"/>
                <a:cs typeface="Times New Roman" panose="02020603050405020304" pitchFamily="18" charset="0"/>
              </a:rPr>
              <a:t>Strengthens India’s position in global maritime sustainability.  </a:t>
            </a:r>
          </a:p>
        </p:txBody>
      </p:sp>
      <p:pic>
        <p:nvPicPr>
          <p:cNvPr id="6" name="Image 0" descr="preencoded.png">
            <a:extLst>
              <a:ext uri="{FF2B5EF4-FFF2-40B4-BE49-F238E27FC236}">
                <a16:creationId xmlns:a16="http://schemas.microsoft.com/office/drawing/2014/main" id="{E32C7A22-2219-8721-6FF9-6A528E34394C}"/>
              </a:ext>
            </a:extLst>
          </p:cNvPr>
          <p:cNvPicPr>
            <a:picLocks noChangeAspect="1"/>
          </p:cNvPicPr>
          <p:nvPr/>
        </p:nvPicPr>
        <p:blipFill>
          <a:blip r:embed="rId6"/>
          <a:stretch>
            <a:fillRect/>
          </a:stretch>
        </p:blipFill>
        <p:spPr>
          <a:xfrm flipH="1">
            <a:off x="7691716" y="1085544"/>
            <a:ext cx="4500281" cy="5772456"/>
          </a:xfrm>
          <a:prstGeom prst="rect">
            <a:avLst/>
          </a:prstGeom>
        </p:spPr>
      </p:pic>
      <p:pic>
        <p:nvPicPr>
          <p:cNvPr id="13" name="Picture 2">
            <a:extLst>
              <a:ext uri="{FF2B5EF4-FFF2-40B4-BE49-F238E27FC236}">
                <a16:creationId xmlns:a16="http://schemas.microsoft.com/office/drawing/2014/main" id="{97782442-38B8-A903-1B19-2F17F0E765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542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368EA-5735-DEDF-1459-B48383CB216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8492F4-7E5B-DE2A-B2DE-D9A31DF299AF}"/>
              </a:ext>
            </a:extLst>
          </p:cNvPr>
          <p:cNvGraphicFramePr>
            <a:graphicFrameLocks noChangeAspect="1"/>
          </p:cNvGraphicFramePr>
          <p:nvPr>
            <p:custDataLst>
              <p:tags r:id="rId1"/>
            </p:custDataLst>
            <p:extLst>
              <p:ext uri="{D42A27DB-BD31-4B8C-83A1-F6EECF244321}">
                <p14:modId xmlns:p14="http://schemas.microsoft.com/office/powerpoint/2010/main" val="155594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8" name="think-cell data - do not delete" hidden="1">
                        <a:extLst>
                          <a:ext uri="{FF2B5EF4-FFF2-40B4-BE49-F238E27FC236}">
                            <a16:creationId xmlns:a16="http://schemas.microsoft.com/office/drawing/2014/main" id="{3F8492F4-7E5B-DE2A-B2DE-D9A31DF299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id="{00A6DB0D-D189-9178-732B-809511AC76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61A2A44C-E321-8298-F0D5-9E3329853AC0}"/>
              </a:ext>
            </a:extLst>
          </p:cNvPr>
          <p:cNvSpPr>
            <a:spLocks noGrp="1"/>
          </p:cNvSpPr>
          <p:nvPr>
            <p:ph type="title"/>
          </p:nvPr>
        </p:nvSpPr>
        <p:spPr>
          <a:xfrm>
            <a:off x="411378" y="616217"/>
            <a:ext cx="10204450" cy="533400"/>
          </a:xfrm>
        </p:spPr>
        <p:txBody>
          <a:bodyPr vert="horz"/>
          <a:lstStyle/>
          <a:p>
            <a:pPr algn="ctr"/>
            <a:r>
              <a:rPr lang="en-GB" sz="4000" b="1">
                <a:solidFill>
                  <a:srgbClr val="00338D"/>
                </a:solidFill>
                <a:latin typeface="Source Sans Pro" panose="020B0503030403020204" pitchFamily="34" charset="0"/>
                <a:ea typeface="Source Sans Pro" panose="020B0503030403020204" pitchFamily="34" charset="0"/>
              </a:rPr>
              <a:t>Objectives of the Session </a:t>
            </a:r>
          </a:p>
        </p:txBody>
      </p:sp>
      <p:sp>
        <p:nvSpPr>
          <p:cNvPr id="6" name="Rectangle: Rounded Corners 5">
            <a:extLst>
              <a:ext uri="{FF2B5EF4-FFF2-40B4-BE49-F238E27FC236}">
                <a16:creationId xmlns:a16="http://schemas.microsoft.com/office/drawing/2014/main" id="{036EC86A-0640-4653-1575-B07566DB2BB8}"/>
              </a:ext>
            </a:extLst>
          </p:cNvPr>
          <p:cNvSpPr/>
          <p:nvPr/>
        </p:nvSpPr>
        <p:spPr>
          <a:xfrm>
            <a:off x="7115705" y="3486051"/>
            <a:ext cx="2013511" cy="2878651"/>
          </a:xfrm>
          <a:prstGeom prst="roundRect">
            <a:avLst>
              <a:gd name="adj" fmla="val 0"/>
            </a:avLst>
          </a:prstGeom>
          <a:ln w="3175">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144000" tIns="36000" rIns="144000" bIns="36000" numCol="1" spcCol="38100" rtlCol="0" anchor="t">
            <a:noAutofit/>
          </a:bodyPr>
          <a:lstStyle/>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kumimoji="0" lang="en-GB"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Workforce safety trainings </a:t>
            </a: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lang="en-GB"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sym typeface="Silka Medium"/>
              </a:rPr>
              <a:t>S</a:t>
            </a:r>
            <a:r>
              <a:rPr kumimoji="0" lang="en-GB"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kill development trainings for workers</a:t>
            </a: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lang="en-GB"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sym typeface="Silka Medium"/>
              </a:rPr>
              <a:t>Medical facilities</a:t>
            </a:r>
            <a:endParaRPr kumimoji="0" lang="en-GB"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endParaRP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00000"/>
              </a:solidFill>
              <a:effectLst/>
              <a:uLnTx/>
              <a:uFillTx/>
              <a:latin typeface="Source Sans Pro" panose="020B0503030403020204" pitchFamily="34" charset="0"/>
              <a:ea typeface="Source Sans Pro" panose="020B0503030403020204" pitchFamily="34" charset="0"/>
              <a:cs typeface="+mn-cs"/>
              <a:sym typeface="Silka Medium"/>
            </a:endParaRPr>
          </a:p>
        </p:txBody>
      </p:sp>
      <p:sp>
        <p:nvSpPr>
          <p:cNvPr id="9" name="Rectangle: Rounded Corners 8">
            <a:extLst>
              <a:ext uri="{FF2B5EF4-FFF2-40B4-BE49-F238E27FC236}">
                <a16:creationId xmlns:a16="http://schemas.microsoft.com/office/drawing/2014/main" id="{8DC298C6-1279-3DE4-3AB1-7A697F5417B9}"/>
              </a:ext>
            </a:extLst>
          </p:cNvPr>
          <p:cNvSpPr/>
          <p:nvPr/>
        </p:nvSpPr>
        <p:spPr>
          <a:xfrm>
            <a:off x="9313512" y="3486052"/>
            <a:ext cx="2013511" cy="2878650"/>
          </a:xfrm>
          <a:prstGeom prst="roundRect">
            <a:avLst>
              <a:gd name="adj" fmla="val 0"/>
            </a:avLst>
          </a:prstGeom>
          <a:ln w="3175">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144000" tIns="36000" rIns="144000" bIns="36000" numCol="1" spcCol="38100" rtlCol="0" anchor="t">
            <a:noAutofit/>
          </a:bodyPr>
          <a:lstStyle/>
          <a:p>
            <a:pPr marR="0" lvl="0" algn="l" defTabSz="825500" rtl="0" eaLnBrk="1" fontAlgn="auto" latinLnBrk="0" hangingPunct="0">
              <a:lnSpc>
                <a:spcPct val="100000"/>
              </a:lnSpc>
              <a:spcBef>
                <a:spcPts val="0"/>
              </a:spcBef>
              <a:spcAft>
                <a:spcPts val="600"/>
              </a:spcAft>
              <a:buClrTx/>
              <a:buSzTx/>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Establishment of </a:t>
            </a:r>
          </a:p>
          <a:p>
            <a:pPr marL="285750" marR="0" lvl="0" indent="-285750" algn="l" defTabSz="8255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Ship Recycling Transparency and Reporting System</a:t>
            </a:r>
          </a:p>
          <a:p>
            <a:pPr marL="285750" marR="0" lvl="0" indent="-285750" algn="l" defTabSz="8255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SRTRS)</a:t>
            </a:r>
            <a:endParaRPr lang="en-GB" sz="16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sym typeface="Silka Medium"/>
            </a:endParaRPr>
          </a:p>
          <a:p>
            <a:pPr marL="285750" marR="0" lvl="0" indent="-285750" algn="l" defTabSz="8255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Digital MRV and certification systems</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endParaRPr>
          </a:p>
        </p:txBody>
      </p:sp>
      <p:sp>
        <p:nvSpPr>
          <p:cNvPr id="10" name="Rectangle: Rounded Corners 9">
            <a:extLst>
              <a:ext uri="{FF2B5EF4-FFF2-40B4-BE49-F238E27FC236}">
                <a16:creationId xmlns:a16="http://schemas.microsoft.com/office/drawing/2014/main" id="{8F6B86BC-4A3C-513D-E5CA-2B6F69821A4A}"/>
              </a:ext>
            </a:extLst>
          </p:cNvPr>
          <p:cNvSpPr/>
          <p:nvPr/>
        </p:nvSpPr>
        <p:spPr>
          <a:xfrm>
            <a:off x="522284" y="3456325"/>
            <a:ext cx="2013511" cy="3217598"/>
          </a:xfrm>
          <a:prstGeom prst="roundRect">
            <a:avLst>
              <a:gd name="adj" fmla="val 0"/>
            </a:avLst>
          </a:prstGeom>
          <a:ln w="3175">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144000" tIns="36000" rIns="144000" bIns="36000" numCol="1" spcCol="38100" rtlCol="0" anchor="t">
            <a:noAutofit/>
          </a:bodyPr>
          <a:lstStyle/>
          <a:p>
            <a:pPr marR="0" lvl="0" algn="l" defTabSz="825500" rtl="0" eaLnBrk="1" fontAlgn="auto" latinLnBrk="0" hangingPunct="0">
              <a:lnSpc>
                <a:spcPct val="100000"/>
              </a:lnSpc>
              <a:spcBef>
                <a:spcPts val="0"/>
              </a:spcBef>
              <a:spcAft>
                <a:spcPts val="600"/>
              </a:spcAft>
              <a:buClrTx/>
              <a:buSzTx/>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Indicative action points related to </a:t>
            </a:r>
          </a:p>
          <a:p>
            <a:pPr marL="285750" marR="0" lvl="0" indent="-285750" algn="l" defTabSz="825500" rtl="0" eaLnBrk="1" fontAlgn="auto" latinLnBrk="0" hangingPunct="0">
              <a:lnSpc>
                <a:spcPct val="100000"/>
              </a:lnSpc>
              <a:spcBef>
                <a:spcPts val="0"/>
              </a:spcBef>
              <a:spcAft>
                <a:spcPts val="600"/>
              </a:spcAft>
              <a:buClrTx/>
              <a:buSzTx/>
              <a:buFont typeface="Arial" panose="020B0604020202020204" pitchFamily="34" charset="0"/>
              <a:buChar char="•"/>
              <a:tabLst/>
              <a:defRPr/>
            </a:pPr>
            <a:r>
              <a:rPr lang="en-GB" sz="16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sym typeface="Silka Medium"/>
              </a:rPr>
              <a:t>R</a:t>
            </a:r>
            <a:r>
              <a:rPr kumimoji="0" lang="en-GB" sz="1600" b="0" i="0" u="none" strike="noStrike" kern="1200" cap="none" spc="0" normalizeH="0" baseline="0" noProof="0" dirty="0" err="1">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egulatory</a:t>
            </a: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 compliance </a:t>
            </a:r>
          </a:p>
          <a:p>
            <a:pPr marL="285750" marR="0" lvl="0" indent="-285750" algn="l" defTabSz="825500" rtl="0" eaLnBrk="1" fontAlgn="auto" latinLnBrk="0" hangingPunct="0">
              <a:lnSpc>
                <a:spcPct val="100000"/>
              </a:lnSpc>
              <a:spcBef>
                <a:spcPts val="0"/>
              </a:spcBef>
              <a:spcAft>
                <a:spcPts val="600"/>
              </a:spcAft>
              <a:buClrTx/>
              <a:buSzTx/>
              <a:buFont typeface="Arial" panose="020B0604020202020204" pitchFamily="34" charset="0"/>
              <a:buChar char="•"/>
              <a:tabLst/>
              <a:defRPr/>
            </a:pPr>
            <a:r>
              <a:rPr lang="en-GB" sz="16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sym typeface="Silka Medium"/>
              </a:rPr>
              <a:t>O</a:t>
            </a:r>
            <a:r>
              <a:rPr kumimoji="0" lang="en-GB" sz="1600" b="0" i="0" u="none" strike="noStrike" kern="1200" cap="none" spc="0" normalizeH="0" baseline="0" noProof="0" dirty="0" err="1">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perational</a:t>
            </a: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 practices</a:t>
            </a:r>
          </a:p>
          <a:p>
            <a:pPr marL="285750" marR="0" lvl="0" indent="-285750" algn="l" defTabSz="8255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Phased infrastructure upgrades</a:t>
            </a:r>
          </a:p>
        </p:txBody>
      </p:sp>
      <p:sp>
        <p:nvSpPr>
          <p:cNvPr id="11" name="Rectangle: Rounded Corners 10">
            <a:extLst>
              <a:ext uri="{FF2B5EF4-FFF2-40B4-BE49-F238E27FC236}">
                <a16:creationId xmlns:a16="http://schemas.microsoft.com/office/drawing/2014/main" id="{3DA9DC3F-390D-2684-382D-732F19946B64}"/>
              </a:ext>
            </a:extLst>
          </p:cNvPr>
          <p:cNvSpPr/>
          <p:nvPr/>
        </p:nvSpPr>
        <p:spPr>
          <a:xfrm>
            <a:off x="2720094" y="3467201"/>
            <a:ext cx="2013511" cy="2908378"/>
          </a:xfrm>
          <a:prstGeom prst="roundRect">
            <a:avLst>
              <a:gd name="adj" fmla="val 0"/>
            </a:avLst>
          </a:prstGeom>
          <a:ln w="3175">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144000" tIns="36000" rIns="144000" bIns="36000" numCol="1" spcCol="38100" rtlCol="0" anchor="t">
            <a:noAutofit/>
          </a:bodyPr>
          <a:lstStyle/>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Adoption of relevant ISO management system standards</a:t>
            </a: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Effective governance of Inventory of Hazardous Materials (IHM) implementation</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endParaRPr>
          </a:p>
        </p:txBody>
      </p:sp>
      <p:sp>
        <p:nvSpPr>
          <p:cNvPr id="12" name="Rectangle: Rounded Corners 11">
            <a:extLst>
              <a:ext uri="{FF2B5EF4-FFF2-40B4-BE49-F238E27FC236}">
                <a16:creationId xmlns:a16="http://schemas.microsoft.com/office/drawing/2014/main" id="{2043AFFF-51C2-0D3D-B99A-20C51C070F89}"/>
              </a:ext>
            </a:extLst>
          </p:cNvPr>
          <p:cNvSpPr/>
          <p:nvPr/>
        </p:nvSpPr>
        <p:spPr>
          <a:xfrm>
            <a:off x="4917899" y="3431184"/>
            <a:ext cx="2013511" cy="2933519"/>
          </a:xfrm>
          <a:prstGeom prst="roundRect">
            <a:avLst>
              <a:gd name="adj" fmla="val 0"/>
            </a:avLst>
          </a:prstGeom>
          <a:ln w="3175">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144000" tIns="36000" rIns="144000" bIns="36000" numCol="1" spcCol="38100" rtlCol="0" anchor="t">
            <a:noAutofit/>
          </a:bodyPr>
          <a:lstStyle/>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Environmentally sound waste management practices</a:t>
            </a: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Integration of ship recycling activities </a:t>
            </a:r>
            <a:r>
              <a:rPr lang="en-GB" sz="16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sym typeface="Silka Medium"/>
              </a:rPr>
              <a:t>with CE.</a:t>
            </a:r>
            <a:endPar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endParaRP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ea typeface="Source Sans Pro" panose="020B0503030403020204" pitchFamily="34" charset="0"/>
                <a:cs typeface="Times New Roman" panose="02020603050405020304" pitchFamily="18" charset="0"/>
                <a:sym typeface="Silka Medium"/>
              </a:rPr>
              <a:t>Green steel value chains</a:t>
            </a: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00000"/>
              </a:solidFill>
              <a:effectLst/>
              <a:uLnTx/>
              <a:uFillTx/>
              <a:latin typeface="Source Sans Pro" panose="020B0503030403020204" pitchFamily="34" charset="0"/>
              <a:ea typeface="Source Sans Pro" panose="020B0503030403020204" pitchFamily="34" charset="0"/>
              <a:cs typeface="+mn-cs"/>
              <a:sym typeface="Silka Medium"/>
            </a:endParaRPr>
          </a:p>
          <a:p>
            <a:pPr marL="171450" marR="0" lvl="0" indent="-171450" algn="l" defTabSz="825500" rtl="0" eaLnBrk="1" fontAlgn="auto" latinLnBrk="0" hangingPunct="0">
              <a:lnSpc>
                <a:spcPct val="100000"/>
              </a:lnSpc>
              <a:spcBef>
                <a:spcPts val="0"/>
              </a:spcBef>
              <a:spcAft>
                <a:spcPts val="600"/>
              </a:spcAft>
              <a:buClrTx/>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00000"/>
              </a:solidFill>
              <a:effectLst/>
              <a:uLnTx/>
              <a:uFillTx/>
              <a:latin typeface="Source Sans Pro" panose="020B0503030403020204" pitchFamily="34" charset="0"/>
              <a:ea typeface="Source Sans Pro" panose="020B0503030403020204" pitchFamily="34" charset="0"/>
              <a:cs typeface="+mn-cs"/>
              <a:sym typeface="Silka Medium"/>
            </a:endParaRPr>
          </a:p>
        </p:txBody>
      </p:sp>
      <p:pic>
        <p:nvPicPr>
          <p:cNvPr id="13" name="Graphic 12" descr="Playbook">
            <a:extLst>
              <a:ext uri="{FF2B5EF4-FFF2-40B4-BE49-F238E27FC236}">
                <a16:creationId xmlns:a16="http://schemas.microsoft.com/office/drawing/2014/main" id="{0B0AD603-7E67-4609-8FC9-8CEBCCCAF39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6370" y="1693358"/>
            <a:ext cx="953583" cy="1056718"/>
          </a:xfrm>
          <a:prstGeom prst="rect">
            <a:avLst/>
          </a:prstGeom>
        </p:spPr>
      </p:pic>
      <p:sp>
        <p:nvSpPr>
          <p:cNvPr id="14" name="TextBox 13">
            <a:extLst>
              <a:ext uri="{FF2B5EF4-FFF2-40B4-BE49-F238E27FC236}">
                <a16:creationId xmlns:a16="http://schemas.microsoft.com/office/drawing/2014/main" id="{3E5B43AF-94C5-74A5-CF00-89AA3FBE6698}"/>
              </a:ext>
            </a:extLst>
          </p:cNvPr>
          <p:cNvSpPr txBox="1"/>
          <p:nvPr/>
        </p:nvSpPr>
        <p:spPr>
          <a:xfrm>
            <a:off x="522287" y="2715811"/>
            <a:ext cx="2013511" cy="642607"/>
          </a:xfrm>
          <a:prstGeom prst="roundRect">
            <a:avLst/>
          </a:prstGeom>
          <a:solidFill>
            <a:srgbClr val="04AA9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rmAutofit fontScale="92500" lnSpcReduction="20000"/>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
                  <a:solidFill>
                    <a:srgbClr val="132421"/>
                  </a:solidFill>
                </a:uFill>
                <a:latin typeface="Source Sans Pro"/>
                <a:ea typeface="Silka Light"/>
                <a:cs typeface="Silka Light"/>
                <a:sym typeface="Silka Light"/>
              </a:rPr>
              <a:t>Yard Modernization</a:t>
            </a:r>
          </a:p>
        </p:txBody>
      </p:sp>
      <p:sp>
        <p:nvSpPr>
          <p:cNvPr id="16" name="TextBox 15">
            <a:extLst>
              <a:ext uri="{FF2B5EF4-FFF2-40B4-BE49-F238E27FC236}">
                <a16:creationId xmlns:a16="http://schemas.microsoft.com/office/drawing/2014/main" id="{4077301F-44A9-7F63-86A2-81AC91CCAC64}"/>
              </a:ext>
            </a:extLst>
          </p:cNvPr>
          <p:cNvSpPr txBox="1"/>
          <p:nvPr/>
        </p:nvSpPr>
        <p:spPr>
          <a:xfrm>
            <a:off x="2720094" y="2715811"/>
            <a:ext cx="2013511" cy="642607"/>
          </a:xfrm>
          <a:prstGeom prst="roundRect">
            <a:avLst/>
          </a:prstGeom>
          <a:solidFill>
            <a:srgbClr val="04AA9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rm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FFFFFF"/>
                </a:solidFill>
                <a:effectLst/>
                <a:uLnTx/>
                <a:uFill>
                  <a:solidFill>
                    <a:srgbClr val="132421"/>
                  </a:solidFill>
                </a:uFill>
                <a:latin typeface="Source Sans Pro"/>
                <a:ea typeface="Silka Light"/>
                <a:cs typeface="Silka Light"/>
                <a:sym typeface="Silka Light"/>
              </a:rPr>
              <a:t>Compliance</a:t>
            </a:r>
          </a:p>
        </p:txBody>
      </p:sp>
      <p:sp>
        <p:nvSpPr>
          <p:cNvPr id="17" name="TextBox 16">
            <a:extLst>
              <a:ext uri="{FF2B5EF4-FFF2-40B4-BE49-F238E27FC236}">
                <a16:creationId xmlns:a16="http://schemas.microsoft.com/office/drawing/2014/main" id="{8C294F56-9C94-38AF-3838-4EF8A83A0AFE}"/>
              </a:ext>
            </a:extLst>
          </p:cNvPr>
          <p:cNvSpPr txBox="1"/>
          <p:nvPr/>
        </p:nvSpPr>
        <p:spPr>
          <a:xfrm>
            <a:off x="4917900" y="2715811"/>
            <a:ext cx="2013511" cy="642607"/>
          </a:xfrm>
          <a:prstGeom prst="roundRect">
            <a:avLst/>
          </a:prstGeom>
          <a:solidFill>
            <a:srgbClr val="04AA9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rmAutofit fontScale="92500" lnSpcReduction="20000"/>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
                  <a:solidFill>
                    <a:srgbClr val="132421"/>
                  </a:solidFill>
                </a:uFill>
                <a:latin typeface="Source Sans Pro"/>
                <a:ea typeface="Silka Light"/>
                <a:cs typeface="Silka Light"/>
                <a:sym typeface="Silka Light"/>
              </a:rPr>
              <a:t>Circular Economy</a:t>
            </a:r>
          </a:p>
        </p:txBody>
      </p:sp>
      <p:sp>
        <p:nvSpPr>
          <p:cNvPr id="18" name="TextBox 17">
            <a:extLst>
              <a:ext uri="{FF2B5EF4-FFF2-40B4-BE49-F238E27FC236}">
                <a16:creationId xmlns:a16="http://schemas.microsoft.com/office/drawing/2014/main" id="{06D4BF62-CAD9-B8AB-3AB0-E6B75DF776FB}"/>
              </a:ext>
            </a:extLst>
          </p:cNvPr>
          <p:cNvSpPr txBox="1"/>
          <p:nvPr/>
        </p:nvSpPr>
        <p:spPr>
          <a:xfrm>
            <a:off x="7115707" y="2715811"/>
            <a:ext cx="2013511" cy="642607"/>
          </a:xfrm>
          <a:prstGeom prst="roundRect">
            <a:avLst/>
          </a:prstGeom>
          <a:solidFill>
            <a:srgbClr val="04AA9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rmAutofit fontScale="92500"/>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
                  <a:solidFill>
                    <a:srgbClr val="132421"/>
                  </a:solidFill>
                </a:uFill>
                <a:latin typeface="Source Sans Pro"/>
                <a:ea typeface="Silka Light"/>
                <a:cs typeface="Silka Light"/>
                <a:sym typeface="Silka Light"/>
              </a:rPr>
              <a:t>Workers Welfare</a:t>
            </a:r>
          </a:p>
        </p:txBody>
      </p:sp>
      <p:sp>
        <p:nvSpPr>
          <p:cNvPr id="19" name="TextBox 18">
            <a:extLst>
              <a:ext uri="{FF2B5EF4-FFF2-40B4-BE49-F238E27FC236}">
                <a16:creationId xmlns:a16="http://schemas.microsoft.com/office/drawing/2014/main" id="{560C0D9A-D7B3-6280-9CEE-2D54B22C9868}"/>
              </a:ext>
            </a:extLst>
          </p:cNvPr>
          <p:cNvSpPr txBox="1"/>
          <p:nvPr/>
        </p:nvSpPr>
        <p:spPr>
          <a:xfrm>
            <a:off x="9313516" y="2715811"/>
            <a:ext cx="2013511" cy="642607"/>
          </a:xfrm>
          <a:prstGeom prst="roundRect">
            <a:avLst/>
          </a:prstGeom>
          <a:solidFill>
            <a:srgbClr val="04AA9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rm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
                  <a:solidFill>
                    <a:srgbClr val="132421"/>
                  </a:solidFill>
                </a:uFill>
                <a:latin typeface="Source Sans Pro"/>
                <a:ea typeface="Silka Light"/>
                <a:cs typeface="Silka Light"/>
                <a:sym typeface="Silka Light"/>
              </a:rPr>
              <a:t>Digitalization</a:t>
            </a:r>
          </a:p>
        </p:txBody>
      </p:sp>
      <p:pic>
        <p:nvPicPr>
          <p:cNvPr id="20" name="Graphic 19" descr="Document">
            <a:extLst>
              <a:ext uri="{FF2B5EF4-FFF2-40B4-BE49-F238E27FC236}">
                <a16:creationId xmlns:a16="http://schemas.microsoft.com/office/drawing/2014/main" id="{FD41047C-78F2-543A-0AE6-77540D4A20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56176" y="1744001"/>
            <a:ext cx="862182" cy="955432"/>
          </a:xfrm>
          <a:prstGeom prst="rect">
            <a:avLst/>
          </a:prstGeom>
        </p:spPr>
      </p:pic>
      <p:pic>
        <p:nvPicPr>
          <p:cNvPr id="21" name="Graphic 20" descr="Internet with solid fill">
            <a:extLst>
              <a:ext uri="{FF2B5EF4-FFF2-40B4-BE49-F238E27FC236}">
                <a16:creationId xmlns:a16="http://schemas.microsoft.com/office/drawing/2014/main" id="{D7C12EC8-7710-D0A9-2AE4-2E3D258CEE58}"/>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9967039" y="1807004"/>
            <a:ext cx="862182" cy="862182"/>
          </a:xfrm>
          <a:prstGeom prst="rect">
            <a:avLst/>
          </a:prstGeom>
        </p:spPr>
      </p:pic>
      <p:pic>
        <p:nvPicPr>
          <p:cNvPr id="22" name="Graphic 21" descr="Construction worker female with solid fill">
            <a:extLst>
              <a:ext uri="{FF2B5EF4-FFF2-40B4-BE49-F238E27FC236}">
                <a16:creationId xmlns:a16="http://schemas.microsoft.com/office/drawing/2014/main" id="{040B4910-AEC7-FEAE-E587-AB782D4C86CF}"/>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652984" y="1777807"/>
            <a:ext cx="862182" cy="862182"/>
          </a:xfrm>
          <a:prstGeom prst="rect">
            <a:avLst/>
          </a:prstGeom>
        </p:spPr>
      </p:pic>
      <p:pic>
        <p:nvPicPr>
          <p:cNvPr id="23" name="Graphic 22" descr="Sustainability">
            <a:extLst>
              <a:ext uri="{FF2B5EF4-FFF2-40B4-BE49-F238E27FC236}">
                <a16:creationId xmlns:a16="http://schemas.microsoft.com/office/drawing/2014/main" id="{DC6117CB-19F6-6569-3CC0-5F4BDA07975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5454579" y="1738573"/>
            <a:ext cx="862182" cy="955432"/>
          </a:xfrm>
          <a:prstGeom prst="rect">
            <a:avLst/>
          </a:prstGeom>
        </p:spPr>
      </p:pic>
    </p:spTree>
    <p:extLst>
      <p:ext uri="{BB962C8B-B14F-4D97-AF65-F5344CB8AC3E}">
        <p14:creationId xmlns:p14="http://schemas.microsoft.com/office/powerpoint/2010/main" val="4064382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304A9-F742-2EC7-F90B-D7B914B7875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2398564-85CA-F676-2E30-AE94A5B69367}"/>
              </a:ext>
            </a:extLst>
          </p:cNvPr>
          <p:cNvGraphicFramePr>
            <a:graphicFrameLocks noChangeAspect="1"/>
          </p:cNvGraphicFramePr>
          <p:nvPr>
            <p:custDataLst>
              <p:tags r:id="rId1"/>
            </p:custDataLst>
            <p:extLst>
              <p:ext uri="{D42A27DB-BD31-4B8C-83A1-F6EECF244321}">
                <p14:modId xmlns:p14="http://schemas.microsoft.com/office/powerpoint/2010/main" val="193350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8" name="think-cell data - do not delete" hidden="1">
                        <a:extLst>
                          <a:ext uri="{FF2B5EF4-FFF2-40B4-BE49-F238E27FC236}">
                            <a16:creationId xmlns:a16="http://schemas.microsoft.com/office/drawing/2014/main" id="{C2398564-85CA-F676-2E30-AE94A5B693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E03DDF9-9A42-D3EE-65FA-BE5FCA20FC4E}"/>
              </a:ext>
            </a:extLst>
          </p:cNvPr>
          <p:cNvSpPr/>
          <p:nvPr/>
        </p:nvSpPr>
        <p:spPr>
          <a:xfrm>
            <a:off x="1780752" y="2934846"/>
            <a:ext cx="9874297" cy="1416170"/>
          </a:xfrm>
          <a:prstGeom prst="rect">
            <a:avLst/>
          </a:prstGeom>
          <a:noFill/>
        </p:spPr>
        <p:txBody>
          <a:bodyPr wrap="square" lIns="0" anchor="ctr">
            <a:noAutofit/>
          </a:bodyPr>
          <a:lstStyle/>
          <a:p>
            <a:pPr marL="285750" marR="0" lvl="0" indent="-285750" algn="l" defTabSz="914400" rtl="0" eaLnBrk="1" fontAlgn="auto" latinLnBrk="0" hangingPunct="1">
              <a:lnSpc>
                <a:spcPct val="100000"/>
              </a:lnSpc>
              <a:spcBef>
                <a:spcPts val="720"/>
              </a:spcBef>
              <a:spcAft>
                <a:spcPts val="0"/>
              </a:spcAft>
              <a:buClr>
                <a:srgbClr val="000000"/>
              </a:buClr>
              <a:buSzTx/>
              <a:buFont typeface="Arial" panose="020B0604020202020204" pitchFamily="34" charset="0"/>
              <a:buChar char="•"/>
              <a:tabLst/>
              <a:defRPr/>
            </a:pPr>
            <a:r>
              <a:rPr kumimoji="0" lang="en-GB" sz="1400" b="1" i="0" u="none" strike="noStrike" kern="120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rPr>
              <a:t>Ship Recycling Transparency and Reporting System (SRTRS): </a:t>
            </a:r>
            <a:r>
              <a:rPr kumimoji="0" lang="en-GB" sz="1400" b="0" i="1" u="none" strike="noStrike" kern="120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rPr>
              <a:t>Mandatory reporting platform to track hazardous waste flows, worker safety practices, and carbon intensity. Real-time monitoring via IoT sensors, blockchain-based IHM tracking</a:t>
            </a:r>
          </a:p>
          <a:p>
            <a:pPr marL="285750" marR="0" lvl="0" indent="-285750" algn="l" defTabSz="914400" rtl="0" eaLnBrk="1" fontAlgn="auto" latinLnBrk="0" hangingPunct="1">
              <a:lnSpc>
                <a:spcPct val="100000"/>
              </a:lnSpc>
              <a:spcBef>
                <a:spcPts val="720"/>
              </a:spcBef>
              <a:spcAft>
                <a:spcPts val="0"/>
              </a:spcAft>
              <a:buClr>
                <a:srgbClr val="000000"/>
              </a:buClr>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Digital Sustainability certificates</a:t>
            </a:r>
            <a:r>
              <a:rPr kumimoji="0" lang="en-GB" sz="140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 </a:t>
            </a:r>
            <a:r>
              <a:rPr kumimoji="0" lang="en-GB" sz="1400" i="1"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For each recycled ship, covering IHM removal, waste handling, and material recovery efficiency aligned with ESG reporting norms and enabling access to Green Finance Instruments</a:t>
            </a:r>
          </a:p>
        </p:txBody>
      </p:sp>
      <p:sp>
        <p:nvSpPr>
          <p:cNvPr id="5" name="Rectangle 4">
            <a:extLst>
              <a:ext uri="{FF2B5EF4-FFF2-40B4-BE49-F238E27FC236}">
                <a16:creationId xmlns:a16="http://schemas.microsoft.com/office/drawing/2014/main" id="{0F0713A5-4DF6-A652-C560-56E7198144A7}"/>
              </a:ext>
            </a:extLst>
          </p:cNvPr>
          <p:cNvSpPr/>
          <p:nvPr/>
        </p:nvSpPr>
        <p:spPr>
          <a:xfrm>
            <a:off x="1787660" y="1307526"/>
            <a:ext cx="9858907" cy="1627319"/>
          </a:xfrm>
          <a:prstGeom prst="rect">
            <a:avLst/>
          </a:prstGeom>
          <a:noFill/>
        </p:spPr>
        <p:txBody>
          <a:bodyPr wrap="square" lIns="0" tIns="0" rIns="0" bIns="0" anchor="ctr">
            <a:noAutofit/>
          </a:bodyPr>
          <a:lstStyle/>
          <a:p>
            <a:pPr marL="285750" marR="0" lvl="0" indent="-285750" algn="l" defTabSz="914400" rtl="0" eaLnBrk="1" fontAlgn="auto" latinLnBrk="0" hangingPunct="1">
              <a:lnSpc>
                <a:spcPct val="100000"/>
              </a:lnSpc>
              <a:spcBef>
                <a:spcPts val="72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222222"/>
                </a:solidFill>
                <a:effectLst/>
                <a:uLnTx/>
                <a:uFillTx/>
                <a:latin typeface="Times New Roman" panose="02020603050405020304" pitchFamily="18" charset="0"/>
                <a:cs typeface="Times New Roman" panose="02020603050405020304" pitchFamily="18" charset="0"/>
              </a:rPr>
              <a:t>Green Ship Recycling Compliance Tiers (GSRC-Tiers): </a:t>
            </a:r>
            <a:r>
              <a:rPr lang="en-GB" sz="1600" i="1" dirty="0">
                <a:solidFill>
                  <a:srgbClr val="222222"/>
                </a:solidFill>
                <a:latin typeface="Times New Roman" panose="02020603050405020304" pitchFamily="18" charset="0"/>
                <a:cs typeface="Times New Roman" panose="02020603050405020304" pitchFamily="18" charset="0"/>
              </a:rPr>
              <a:t>F</a:t>
            </a:r>
            <a:r>
              <a:rPr kumimoji="0" lang="en-GB" sz="1600" b="0" i="1" u="none" strike="noStrike" kern="1200" cap="none" spc="0" normalizeH="0" baseline="0" noProof="0" dirty="0">
                <a:ln>
                  <a:noFill/>
                </a:ln>
                <a:solidFill>
                  <a:srgbClr val="222222"/>
                </a:solidFill>
                <a:effectLst/>
                <a:uLnTx/>
                <a:uFillTx/>
                <a:latin typeface="Times New Roman" panose="02020603050405020304" pitchFamily="18" charset="0"/>
                <a:cs typeface="Times New Roman" panose="02020603050405020304" pitchFamily="18" charset="0"/>
              </a:rPr>
              <a:t>or all registered recycling  facilities based on their adherence to HKC/EUSRR protocols, occupational safety standards, and environmental safeguards</a:t>
            </a:r>
          </a:p>
          <a:p>
            <a:pPr marL="285750" marR="0" lvl="0" indent="-285750" algn="l" defTabSz="914400" rtl="0" eaLnBrk="1" fontAlgn="auto" latinLnBrk="0" hangingPunct="1">
              <a:lnSpc>
                <a:spcPct val="100000"/>
              </a:lnSpc>
              <a:spcBef>
                <a:spcPts val="72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Technology Modernization and Infrastructure Support</a:t>
            </a:r>
            <a:r>
              <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 </a:t>
            </a:r>
            <a:r>
              <a:rPr kumimoji="0" lang="en-GB" sz="1600" b="0" i="1"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Promote </a:t>
            </a:r>
            <a:r>
              <a:rPr lang="en-GB" sz="1600" i="1" dirty="0">
                <a:solidFill>
                  <a:srgbClr val="000000"/>
                </a:solidFill>
                <a:latin typeface="Times New Roman" panose="02020603050405020304" pitchFamily="18" charset="0"/>
                <a:cs typeface="Times New Roman" panose="02020603050405020304" pitchFamily="18" charset="0"/>
              </a:rPr>
              <a:t>technology in</a:t>
            </a:r>
            <a:r>
              <a:rPr kumimoji="0" lang="en-GB" sz="1600" b="0" i="1"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 dismantling, AI-based waste sorting,  emission control systems, common smelting facility and Pay-per-Use advanced equipment </a:t>
            </a:r>
          </a:p>
          <a:p>
            <a:pPr marL="285750" marR="0" lvl="0" indent="-285750" algn="l" defTabSz="914400" rtl="0" eaLnBrk="1" fontAlgn="auto" latinLnBrk="0" hangingPunct="1">
              <a:lnSpc>
                <a:spcPct val="100000"/>
              </a:lnSpc>
              <a:spcBef>
                <a:spcPts val="720"/>
              </a:spcBef>
              <a:spcAft>
                <a:spcPts val="0"/>
              </a:spcAft>
              <a:buClrTx/>
              <a:buSzTx/>
              <a:buFont typeface="Arial" panose="020B0604020202020204" pitchFamily="34" charset="0"/>
              <a:buChar char="•"/>
              <a:tabLst/>
              <a:defRPr/>
            </a:pPr>
            <a:r>
              <a:rPr lang="en-GB" sz="1600" b="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Utilisation of the Ferrous Scrap Development Fund (FSDF) : </a:t>
            </a:r>
            <a:r>
              <a:rPr lang="en-GB" sz="1600" i="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Allocation of FSDF grants/loans for upgrading shipbreaking yards, funding  R&amp;D .</a:t>
            </a:r>
            <a:endParaRPr kumimoji="0" lang="en-GB" sz="1600" b="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BA642780-E37A-34D7-36A6-AC2DFD995FFC}"/>
              </a:ext>
            </a:extLst>
          </p:cNvPr>
          <p:cNvSpPr/>
          <p:nvPr/>
        </p:nvSpPr>
        <p:spPr>
          <a:xfrm>
            <a:off x="187828" y="1258540"/>
            <a:ext cx="1456784" cy="1725290"/>
          </a:xfrm>
          <a:prstGeom prst="roundRect">
            <a:avLst>
              <a:gd name="adj" fmla="val 12184"/>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small" spc="0" normalizeH="0" baseline="0" noProof="0">
                <a:ln>
                  <a:noFill/>
                </a:ln>
                <a:solidFill>
                  <a:schemeClr val="bg1"/>
                </a:solidFill>
                <a:effectLst/>
                <a:uLnTx/>
                <a:uFillTx/>
                <a:latin typeface="Source Sans Pro"/>
                <a:ea typeface="+mn-ea"/>
                <a:cs typeface="+mn-cs"/>
              </a:rPr>
              <a:t>Yard Modernisation</a:t>
            </a:r>
          </a:p>
        </p:txBody>
      </p:sp>
      <p:sp>
        <p:nvSpPr>
          <p:cNvPr id="24" name="Rectangle: Rounded Corners 23">
            <a:extLst>
              <a:ext uri="{FF2B5EF4-FFF2-40B4-BE49-F238E27FC236}">
                <a16:creationId xmlns:a16="http://schemas.microsoft.com/office/drawing/2014/main" id="{14F53AFB-CD1A-ECF0-3CDF-C1288D49F6C0}"/>
              </a:ext>
            </a:extLst>
          </p:cNvPr>
          <p:cNvSpPr/>
          <p:nvPr/>
        </p:nvSpPr>
        <p:spPr>
          <a:xfrm>
            <a:off x="187828" y="3065427"/>
            <a:ext cx="1456784" cy="1110166"/>
          </a:xfrm>
          <a:prstGeom prst="roundRect">
            <a:avLst>
              <a:gd name="adj" fmla="val 12183"/>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small" spc="0" normalizeH="0" baseline="0" noProof="0">
                <a:ln>
                  <a:noFill/>
                </a:ln>
                <a:solidFill>
                  <a:schemeClr val="bg1"/>
                </a:solidFill>
                <a:effectLst/>
                <a:uLnTx/>
                <a:uFillTx/>
                <a:latin typeface="Source Sans Pro"/>
                <a:ea typeface="+mn-ea"/>
                <a:cs typeface="+mn-cs"/>
              </a:rPr>
              <a:t>Digitalization</a:t>
            </a:r>
          </a:p>
        </p:txBody>
      </p:sp>
      <p:sp>
        <p:nvSpPr>
          <p:cNvPr id="25" name="Rectangle: Rounded Corners 24">
            <a:extLst>
              <a:ext uri="{FF2B5EF4-FFF2-40B4-BE49-F238E27FC236}">
                <a16:creationId xmlns:a16="http://schemas.microsoft.com/office/drawing/2014/main" id="{DBB2EA91-409C-5A17-D9E0-C81E20629139}"/>
              </a:ext>
            </a:extLst>
          </p:cNvPr>
          <p:cNvSpPr/>
          <p:nvPr/>
        </p:nvSpPr>
        <p:spPr>
          <a:xfrm>
            <a:off x="211702" y="4277047"/>
            <a:ext cx="1456784" cy="1110166"/>
          </a:xfrm>
          <a:prstGeom prst="roundRect">
            <a:avLst>
              <a:gd name="adj" fmla="val 12183"/>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small" spc="0" normalizeH="0" baseline="0" noProof="0">
                <a:ln>
                  <a:noFill/>
                </a:ln>
                <a:solidFill>
                  <a:schemeClr val="bg1"/>
                </a:solidFill>
                <a:effectLst/>
                <a:uLnTx/>
                <a:uFillTx/>
                <a:latin typeface="Source Sans Pro"/>
                <a:ea typeface="+mn-ea"/>
                <a:cs typeface="+mn-cs"/>
              </a:rPr>
              <a:t>Trainings and worker welfare</a:t>
            </a:r>
          </a:p>
        </p:txBody>
      </p:sp>
      <p:sp>
        <p:nvSpPr>
          <p:cNvPr id="26" name="Rectangle 25">
            <a:extLst>
              <a:ext uri="{FF2B5EF4-FFF2-40B4-BE49-F238E27FC236}">
                <a16:creationId xmlns:a16="http://schemas.microsoft.com/office/drawing/2014/main" id="{5E67555D-80DA-522A-048F-6A752A6BD1FC}"/>
              </a:ext>
            </a:extLst>
          </p:cNvPr>
          <p:cNvSpPr/>
          <p:nvPr/>
        </p:nvSpPr>
        <p:spPr>
          <a:xfrm>
            <a:off x="1804626" y="4351022"/>
            <a:ext cx="9858907" cy="962216"/>
          </a:xfrm>
          <a:prstGeom prst="rect">
            <a:avLst/>
          </a:prstGeom>
          <a:noFill/>
        </p:spPr>
        <p:txBody>
          <a:bodyPr wrap="square" lIns="0" anchor="ctr">
            <a:noAutofit/>
          </a:bodyPr>
          <a:lstStyle/>
          <a:p>
            <a:pPr marL="285750" lvl="0" indent="-285750" defTabSz="666750">
              <a:lnSpc>
                <a:spcPct val="90000"/>
              </a:lnSpc>
              <a:spcBef>
                <a:spcPct val="0"/>
              </a:spcBef>
              <a:spcAft>
                <a:spcPct val="35000"/>
              </a:spcAft>
              <a:buFont typeface="Arial" panose="020B0604020202020204" pitchFamily="34" charset="0"/>
              <a:buChar char="•"/>
            </a:pPr>
            <a:r>
              <a:rPr lang="en-GB" sz="1600" b="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National-level training module: </a:t>
            </a:r>
            <a:r>
              <a:rPr lang="en-GB" sz="1600" i="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Introduced under Green Skills pillar, building competencies in safe cutting techniques, hazardous waste handling and spill prevention</a:t>
            </a:r>
            <a:endParaRPr lang="en-GB" sz="1600" i="1" dirty="0">
              <a:latin typeface="Times New Roman" panose="02020603050405020304" pitchFamily="18" charset="0"/>
              <a:ea typeface="Source Sans Pro" panose="020B0503030403020204" pitchFamily="34" charset="0"/>
              <a:cs typeface="Times New Roman" panose="02020603050405020304" pitchFamily="18" charset="0"/>
            </a:endParaRPr>
          </a:p>
          <a:p>
            <a:pPr marL="285750" lvl="0" indent="-285750" defTabSz="666750">
              <a:lnSpc>
                <a:spcPct val="90000"/>
              </a:lnSpc>
              <a:spcBef>
                <a:spcPct val="0"/>
              </a:spcBef>
              <a:spcAft>
                <a:spcPct val="35000"/>
              </a:spcAft>
              <a:buFont typeface="Arial" panose="020B0604020202020204" pitchFamily="34" charset="0"/>
              <a:buChar char="•"/>
            </a:pPr>
            <a:r>
              <a:rPr lang="en-GB" sz="1600" b="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Worker Welfare : </a:t>
            </a:r>
            <a:r>
              <a:rPr lang="en-GB" sz="1600" i="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 Safety records ,mitigation of occupational hazard , medical facilities,  insurance and welfare funds for ship recycling yard workers.</a:t>
            </a:r>
          </a:p>
        </p:txBody>
      </p:sp>
      <p:sp>
        <p:nvSpPr>
          <p:cNvPr id="27" name="Title 2">
            <a:extLst>
              <a:ext uri="{FF2B5EF4-FFF2-40B4-BE49-F238E27FC236}">
                <a16:creationId xmlns:a16="http://schemas.microsoft.com/office/drawing/2014/main" id="{02DB152C-7D47-54F1-68D6-0306ACA3A783}"/>
              </a:ext>
            </a:extLst>
          </p:cNvPr>
          <p:cNvSpPr txBox="1">
            <a:spLocks/>
          </p:cNvSpPr>
          <p:nvPr/>
        </p:nvSpPr>
        <p:spPr>
          <a:xfrm>
            <a:off x="993775" y="306862"/>
            <a:ext cx="10204450" cy="533400"/>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0" tIns="0" rIns="0" bIns="0" rtlCol="0" anchor="t" anchorCtr="0">
            <a:noAutofit/>
          </a:bodyPr>
          <a:lstStyle>
            <a:lvl1pPr marL="0" marR="0" indent="0" algn="l" defTabSz="412750" latinLnBrk="0">
              <a:lnSpc>
                <a:spcPct val="100000"/>
              </a:lnSpc>
              <a:spcBef>
                <a:spcPts val="0"/>
              </a:spcBef>
              <a:spcAft>
                <a:spcPts val="0"/>
              </a:spcAft>
              <a:buClrTx/>
              <a:buSzTx/>
              <a:buFontTx/>
              <a:buNone/>
              <a:tabLst/>
              <a:defRPr sz="2800" b="1" i="0" u="none" strike="noStrike" kern="0" cap="none" spc="0" baseline="0" dirty="0">
                <a:solidFill>
                  <a:srgbClr val="253038"/>
                </a:solidFill>
                <a:uFillTx/>
                <a:latin typeface="Source Sans Pro" panose="020B0503030403020204" pitchFamily="34" charset="0"/>
                <a:ea typeface="Source Sans Pro" panose="020B0503030403020204" pitchFamily="34" charset="0"/>
                <a:cs typeface="Source Sans Pro" panose="020B0503030403020204" pitchFamily="34" charset="0"/>
                <a:sym typeface="Silka Bold"/>
              </a:defRPr>
            </a:lvl1pPr>
            <a:lvl2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2pPr>
            <a:lvl3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3pPr>
            <a:lvl4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4pPr>
            <a:lvl5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5pPr>
            <a:lvl6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6pPr>
            <a:lvl7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7pPr>
            <a:lvl8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8pPr>
            <a:lvl9pPr marL="0" marR="0" indent="0" algn="l" defTabSz="412750" latinLnBrk="0">
              <a:lnSpc>
                <a:spcPct val="100000"/>
              </a:lnSpc>
              <a:spcBef>
                <a:spcPts val="0"/>
              </a:spcBef>
              <a:spcAft>
                <a:spcPts val="0"/>
              </a:spcAft>
              <a:buClrTx/>
              <a:buSzTx/>
              <a:buFontTx/>
              <a:buNone/>
              <a:tabLst/>
              <a:defRPr sz="5600" b="0" i="0" u="none" strike="noStrike" cap="none" spc="0" baseline="0">
                <a:solidFill>
                  <a:srgbClr val="000000"/>
                </a:solidFill>
                <a:uFillTx/>
                <a:latin typeface="Silka Bold"/>
                <a:ea typeface="Silka Bold"/>
                <a:cs typeface="Silka Bold"/>
                <a:sym typeface="Silka Bold"/>
              </a:defRPr>
            </a:lvl9pPr>
          </a:lstStyle>
          <a:p>
            <a:pPr algn="ctr"/>
            <a:r>
              <a:rPr lang="en-GB" sz="4000">
                <a:solidFill>
                  <a:srgbClr val="00338D"/>
                </a:solidFill>
              </a:rPr>
              <a:t>Strategic Priorities under NGSP</a:t>
            </a:r>
          </a:p>
        </p:txBody>
      </p:sp>
      <p:pic>
        <p:nvPicPr>
          <p:cNvPr id="28" name="Picture 2">
            <a:extLst>
              <a:ext uri="{FF2B5EF4-FFF2-40B4-BE49-F238E27FC236}">
                <a16:creationId xmlns:a16="http://schemas.microsoft.com/office/drawing/2014/main" id="{3C7AEBB7-A931-BA85-CDE3-3F7BA04D80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B90BACE1-D7B4-FD0A-CC69-ACB1722F8DE1}"/>
              </a:ext>
            </a:extLst>
          </p:cNvPr>
          <p:cNvSpPr/>
          <p:nvPr/>
        </p:nvSpPr>
        <p:spPr>
          <a:xfrm>
            <a:off x="211702" y="5488667"/>
            <a:ext cx="1456784" cy="1140664"/>
          </a:xfrm>
          <a:prstGeom prst="roundRect">
            <a:avLst>
              <a:gd name="adj" fmla="val 12183"/>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defRPr/>
            </a:pPr>
            <a:r>
              <a:rPr lang="en-GB" sz="1600" b="1" cap="small">
                <a:solidFill>
                  <a:schemeClr val="bg1"/>
                </a:solidFill>
                <a:latin typeface="Source Sans Pro"/>
              </a:rPr>
              <a:t>Carbon Registry &amp; Circular economy</a:t>
            </a:r>
            <a:endParaRPr kumimoji="0" lang="en-GB" sz="1600" b="1" i="0" u="none" strike="noStrike" kern="1200" cap="small" spc="0" normalizeH="0" baseline="0" noProof="0">
              <a:ln>
                <a:noFill/>
              </a:ln>
              <a:solidFill>
                <a:schemeClr val="bg1"/>
              </a:solidFill>
              <a:effectLst/>
              <a:uLnTx/>
              <a:uFillTx/>
              <a:latin typeface="Source Sans Pro"/>
              <a:ea typeface="+mn-ea"/>
              <a:cs typeface="+mn-cs"/>
            </a:endParaRPr>
          </a:p>
        </p:txBody>
      </p:sp>
      <p:sp>
        <p:nvSpPr>
          <p:cNvPr id="30" name="Rectangle 29">
            <a:extLst>
              <a:ext uri="{FF2B5EF4-FFF2-40B4-BE49-F238E27FC236}">
                <a16:creationId xmlns:a16="http://schemas.microsoft.com/office/drawing/2014/main" id="{E8EDDDFF-11F7-2E38-679B-DAD8CD290B7E}"/>
              </a:ext>
            </a:extLst>
          </p:cNvPr>
          <p:cNvSpPr/>
          <p:nvPr/>
        </p:nvSpPr>
        <p:spPr>
          <a:xfrm>
            <a:off x="1804626" y="5577891"/>
            <a:ext cx="9841941" cy="962216"/>
          </a:xfrm>
          <a:prstGeom prst="rect">
            <a:avLst/>
          </a:prstGeom>
          <a:noFill/>
        </p:spPr>
        <p:txBody>
          <a:bodyPr wrap="square" lIns="0" anchor="ctr">
            <a:noAutofit/>
          </a:bodyPr>
          <a:lstStyle/>
          <a:p>
            <a:pPr marL="285750" lvl="0" indent="-285750" defTabSz="666750">
              <a:lnSpc>
                <a:spcPct val="90000"/>
              </a:lnSpc>
              <a:spcBef>
                <a:spcPct val="0"/>
              </a:spcBef>
              <a:spcAft>
                <a:spcPct val="35000"/>
              </a:spcAft>
              <a:buFont typeface="Arial" panose="020B0604020202020204" pitchFamily="34" charset="0"/>
              <a:buChar char="•"/>
            </a:pPr>
            <a:r>
              <a:rPr lang="en-GB" sz="1600" b="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Circular Economy and Green Steel Linkages</a:t>
            </a:r>
            <a:r>
              <a:rPr lang="en-GB" sz="1600"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 </a:t>
            </a:r>
            <a:r>
              <a:rPr lang="en-GB" sz="1600" i="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Recovery loops, supported by guidelines on safe rerolling and EPR-based traceability for select machinery/components (e.g., engines, pumps, compressors, valves  etc.) </a:t>
            </a:r>
          </a:p>
          <a:p>
            <a:pPr marL="285750" lvl="0" indent="-285750" defTabSz="666750">
              <a:lnSpc>
                <a:spcPct val="90000"/>
              </a:lnSpc>
              <a:spcBef>
                <a:spcPct val="0"/>
              </a:spcBef>
              <a:spcAft>
                <a:spcPct val="35000"/>
              </a:spcAft>
              <a:buFont typeface="Arial" panose="020B0604020202020204" pitchFamily="34" charset="0"/>
              <a:buChar char="•"/>
            </a:pPr>
            <a:r>
              <a:rPr lang="en-GB" sz="1600" b="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Ship Recycling Carbon Accounting &amp; Reduction Program</a:t>
            </a:r>
            <a:r>
              <a:rPr lang="en-GB" sz="1600"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 </a:t>
            </a:r>
            <a:r>
              <a:rPr lang="en-GB" sz="1600" i="1" dirty="0">
                <a:solidFill>
                  <a:srgbClr val="000000">
                    <a:hueOff val="0"/>
                    <a:satOff val="0"/>
                    <a:lumOff val="0"/>
                    <a:alphaOff val="0"/>
                  </a:srgbClr>
                </a:solidFill>
                <a:latin typeface="Times New Roman" panose="02020603050405020304" pitchFamily="18" charset="0"/>
                <a:ea typeface="Source Sans Pro" panose="020B0503030403020204" pitchFamily="34" charset="0"/>
                <a:cs typeface="Times New Roman" panose="02020603050405020304" pitchFamily="18" charset="0"/>
              </a:rPr>
              <a:t> Dedicated carbon accounting and reduction framework for the ship recycling sector</a:t>
            </a:r>
          </a:p>
        </p:txBody>
      </p:sp>
      <p:cxnSp>
        <p:nvCxnSpPr>
          <p:cNvPr id="31" name="Straight Connector 30">
            <a:extLst>
              <a:ext uri="{FF2B5EF4-FFF2-40B4-BE49-F238E27FC236}">
                <a16:creationId xmlns:a16="http://schemas.microsoft.com/office/drawing/2014/main" id="{B1ADE4C9-5118-9FD3-3766-F6843D058674}"/>
              </a:ext>
            </a:extLst>
          </p:cNvPr>
          <p:cNvCxnSpPr>
            <a:cxnSpLocks/>
          </p:cNvCxnSpPr>
          <p:nvPr/>
        </p:nvCxnSpPr>
        <p:spPr>
          <a:xfrm>
            <a:off x="1796142" y="3035855"/>
            <a:ext cx="9867390" cy="0"/>
          </a:xfrm>
          <a:prstGeom prst="line">
            <a:avLst/>
          </a:prstGeom>
          <a:ln w="63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F0063856-E3D6-2C10-A927-F0640AD2771C}"/>
              </a:ext>
            </a:extLst>
          </p:cNvPr>
          <p:cNvCxnSpPr>
            <a:cxnSpLocks/>
          </p:cNvCxnSpPr>
          <p:nvPr/>
        </p:nvCxnSpPr>
        <p:spPr>
          <a:xfrm flipV="1">
            <a:off x="1804626" y="4216952"/>
            <a:ext cx="9850423" cy="33060"/>
          </a:xfrm>
          <a:prstGeom prst="line">
            <a:avLst/>
          </a:prstGeom>
          <a:ln w="63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E3FE764B-38DA-3E68-64EB-5A8964F07FFB}"/>
              </a:ext>
            </a:extLst>
          </p:cNvPr>
          <p:cNvCxnSpPr>
            <a:cxnSpLocks/>
          </p:cNvCxnSpPr>
          <p:nvPr/>
        </p:nvCxnSpPr>
        <p:spPr>
          <a:xfrm>
            <a:off x="1804626" y="5414248"/>
            <a:ext cx="9858906" cy="0"/>
          </a:xfrm>
          <a:prstGeom prst="line">
            <a:avLst/>
          </a:prstGeom>
          <a:ln w="63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858295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2CA6B-33E0-4FAA-D784-4EA60554E1A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B099BC-D555-96B1-9404-C31AB4375C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7" name="think-cell data - do not delete" hidden="1">
                        <a:extLst>
                          <a:ext uri="{FF2B5EF4-FFF2-40B4-BE49-F238E27FC236}">
                            <a16:creationId xmlns:a16="http://schemas.microsoft.com/office/drawing/2014/main" id="{96B099BC-D555-96B1-9404-C31AB4375C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AC4FA6B-2101-27CC-AE36-0A550FF8223A}"/>
              </a:ext>
            </a:extLst>
          </p:cNvPr>
          <p:cNvSpPr>
            <a:spLocks noGrp="1"/>
          </p:cNvSpPr>
          <p:nvPr>
            <p:ph type="title"/>
          </p:nvPr>
        </p:nvSpPr>
        <p:spPr/>
        <p:txBody>
          <a:bodyPr vert="horz" lIns="0" tIns="0" rIns="0" bIns="0" rtlCol="0" anchor="t" anchorCtr="0">
            <a:noAutofit/>
          </a:bodyPr>
          <a:lstStyle/>
          <a:p>
            <a:pPr algn="ctr"/>
            <a:r>
              <a:rPr lang="en-GB" sz="4000" b="1">
                <a:latin typeface="Source Sans Pro" panose="020B0503030403020204" pitchFamily="34" charset="0"/>
                <a:ea typeface="Source Sans Pro" panose="020B0503030403020204" pitchFamily="34" charset="0"/>
              </a:rPr>
              <a:t>Indicative Action Pathway</a:t>
            </a:r>
          </a:p>
        </p:txBody>
      </p:sp>
      <p:pic>
        <p:nvPicPr>
          <p:cNvPr id="4" name="Picture 2">
            <a:extLst>
              <a:ext uri="{FF2B5EF4-FFF2-40B4-BE49-F238E27FC236}">
                <a16:creationId xmlns:a16="http://schemas.microsoft.com/office/drawing/2014/main" id="{E3395B1E-06B6-4430-68F6-7E9D2B8230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90D7B4A-2114-06DA-3350-F8A12B6EB838}"/>
              </a:ext>
            </a:extLst>
          </p:cNvPr>
          <p:cNvGrpSpPr/>
          <p:nvPr/>
        </p:nvGrpSpPr>
        <p:grpSpPr>
          <a:xfrm>
            <a:off x="3215209" y="1698662"/>
            <a:ext cx="3650158" cy="466801"/>
            <a:chOff x="0" y="-9525"/>
            <a:chExt cx="1186117" cy="184845"/>
          </a:xfrm>
        </p:grpSpPr>
        <p:sp>
          <p:nvSpPr>
            <p:cNvPr id="33" name="Freeform 3">
              <a:extLst>
                <a:ext uri="{FF2B5EF4-FFF2-40B4-BE49-F238E27FC236}">
                  <a16:creationId xmlns:a16="http://schemas.microsoft.com/office/drawing/2014/main" id="{6168133E-9DB6-EC0E-1F79-F2C333559960}"/>
                </a:ext>
              </a:extLst>
            </p:cNvPr>
            <p:cNvSpPr/>
            <p:nvPr/>
          </p:nvSpPr>
          <p:spPr>
            <a:xfrm>
              <a:off x="0" y="0"/>
              <a:ext cx="1186117" cy="175320"/>
            </a:xfrm>
            <a:custGeom>
              <a:avLst/>
              <a:gdLst/>
              <a:ahLst/>
              <a:cxnLst/>
              <a:rect l="l" t="t" r="r" b="b"/>
              <a:pathLst>
                <a:path w="1186117" h="175320">
                  <a:moveTo>
                    <a:pt x="0" y="0"/>
                  </a:moveTo>
                  <a:lnTo>
                    <a:pt x="1186117" y="0"/>
                  </a:lnTo>
                  <a:lnTo>
                    <a:pt x="1186117" y="175320"/>
                  </a:lnTo>
                  <a:lnTo>
                    <a:pt x="0" y="175320"/>
                  </a:lnTo>
                  <a:close/>
                </a:path>
              </a:pathLst>
            </a:custGeom>
            <a:solidFill>
              <a:srgbClr val="05BFB2"/>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TextBox 4">
              <a:extLst>
                <a:ext uri="{FF2B5EF4-FFF2-40B4-BE49-F238E27FC236}">
                  <a16:creationId xmlns:a16="http://schemas.microsoft.com/office/drawing/2014/main" id="{A0F7D953-AA53-0FA9-821A-265F70A760B4}"/>
                </a:ext>
              </a:extLst>
            </p:cNvPr>
            <p:cNvSpPr txBox="1"/>
            <p:nvPr/>
          </p:nvSpPr>
          <p:spPr>
            <a:xfrm>
              <a:off x="0" y="-9525"/>
              <a:ext cx="1186117" cy="184845"/>
            </a:xfrm>
            <a:prstGeom prst="rect">
              <a:avLst/>
            </a:prstGeom>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pPr>
              <a:r>
                <a:rPr lang="en-US" sz="1200" b="1">
                  <a:solidFill>
                    <a:srgbClr val="FFFFFF"/>
                  </a:solidFill>
                  <a:latin typeface="Source Sans Pro" panose="020B0503030403020204" pitchFamily="34" charset="0"/>
                  <a:ea typeface="Source Sans Pro" panose="020B0503030403020204" pitchFamily="34" charset="0"/>
                  <a:cs typeface="Montserrat Bold"/>
                  <a:sym typeface="Montserrat Bold"/>
                </a:rPr>
                <a:t>Medium Term </a:t>
              </a:r>
            </a:p>
          </p:txBody>
        </p:sp>
      </p:grpSp>
      <p:grpSp>
        <p:nvGrpSpPr>
          <p:cNvPr id="12" name="Group 11">
            <a:extLst>
              <a:ext uri="{FF2B5EF4-FFF2-40B4-BE49-F238E27FC236}">
                <a16:creationId xmlns:a16="http://schemas.microsoft.com/office/drawing/2014/main" id="{1E0119D5-D464-07A7-70F0-4E544088B927}"/>
              </a:ext>
            </a:extLst>
          </p:cNvPr>
          <p:cNvGrpSpPr/>
          <p:nvPr/>
        </p:nvGrpSpPr>
        <p:grpSpPr>
          <a:xfrm>
            <a:off x="6865370" y="1698662"/>
            <a:ext cx="4675878" cy="466801"/>
            <a:chOff x="0" y="-9525"/>
            <a:chExt cx="1182219" cy="184845"/>
          </a:xfrm>
        </p:grpSpPr>
        <p:sp>
          <p:nvSpPr>
            <p:cNvPr id="31" name="Freeform 6">
              <a:extLst>
                <a:ext uri="{FF2B5EF4-FFF2-40B4-BE49-F238E27FC236}">
                  <a16:creationId xmlns:a16="http://schemas.microsoft.com/office/drawing/2014/main" id="{8BDF8A9F-B6D4-F3C9-3701-8B1818D25179}"/>
                </a:ext>
              </a:extLst>
            </p:cNvPr>
            <p:cNvSpPr/>
            <p:nvPr/>
          </p:nvSpPr>
          <p:spPr>
            <a:xfrm>
              <a:off x="0" y="0"/>
              <a:ext cx="1182219" cy="175320"/>
            </a:xfrm>
            <a:custGeom>
              <a:avLst/>
              <a:gdLst/>
              <a:ahLst/>
              <a:cxnLst/>
              <a:rect l="l" t="t" r="r" b="b"/>
              <a:pathLst>
                <a:path w="1182219" h="175320">
                  <a:moveTo>
                    <a:pt x="0" y="0"/>
                  </a:moveTo>
                  <a:lnTo>
                    <a:pt x="1182219" y="0"/>
                  </a:lnTo>
                  <a:lnTo>
                    <a:pt x="1182219" y="175320"/>
                  </a:lnTo>
                  <a:lnTo>
                    <a:pt x="0" y="175320"/>
                  </a:lnTo>
                  <a:close/>
                </a:path>
              </a:pathLst>
            </a:custGeom>
            <a:solidFill>
              <a:srgbClr val="04AA9E"/>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 name="TextBox 7">
              <a:extLst>
                <a:ext uri="{FF2B5EF4-FFF2-40B4-BE49-F238E27FC236}">
                  <a16:creationId xmlns:a16="http://schemas.microsoft.com/office/drawing/2014/main" id="{F0A8BBE3-0E43-77AE-9345-1E4B5D3014F8}"/>
                </a:ext>
              </a:extLst>
            </p:cNvPr>
            <p:cNvSpPr txBox="1"/>
            <p:nvPr/>
          </p:nvSpPr>
          <p:spPr>
            <a:xfrm>
              <a:off x="0" y="-9525"/>
              <a:ext cx="1182219" cy="184845"/>
            </a:xfrm>
            <a:prstGeom prst="rect">
              <a:avLst/>
            </a:prstGeom>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pPr>
              <a:r>
                <a:rPr lang="en-US" sz="1200" b="1">
                  <a:solidFill>
                    <a:srgbClr val="FFFFFF"/>
                  </a:solidFill>
                  <a:latin typeface="Source Sans Pro" panose="020B0503030403020204" pitchFamily="34" charset="0"/>
                  <a:ea typeface="Source Sans Pro" panose="020B0503030403020204" pitchFamily="34" charset="0"/>
                  <a:cs typeface="Montserrat Bold"/>
                  <a:sym typeface="Montserrat Bold"/>
                </a:rPr>
                <a:t>Long Term </a:t>
              </a:r>
            </a:p>
          </p:txBody>
        </p:sp>
      </p:grpSp>
      <p:sp>
        <p:nvSpPr>
          <p:cNvPr id="14" name="AutoShape 11">
            <a:extLst>
              <a:ext uri="{FF2B5EF4-FFF2-40B4-BE49-F238E27FC236}">
                <a16:creationId xmlns:a16="http://schemas.microsoft.com/office/drawing/2014/main" id="{89E1FA49-AC62-DE45-8A6C-3E8D9E3446DD}"/>
              </a:ext>
            </a:extLst>
          </p:cNvPr>
          <p:cNvSpPr/>
          <p:nvPr/>
        </p:nvSpPr>
        <p:spPr>
          <a:xfrm flipH="1" flipV="1">
            <a:off x="3201328" y="1492705"/>
            <a:ext cx="3" cy="625288"/>
          </a:xfrm>
          <a:prstGeom prst="line">
            <a:avLst/>
          </a:prstGeom>
          <a:ln w="19050" cap="flat">
            <a:solidFill>
              <a:srgbClr val="04AA9E"/>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AutoShape 12">
            <a:extLst>
              <a:ext uri="{FF2B5EF4-FFF2-40B4-BE49-F238E27FC236}">
                <a16:creationId xmlns:a16="http://schemas.microsoft.com/office/drawing/2014/main" id="{C1322D31-930E-8C31-26F5-1C0C863C7873}"/>
              </a:ext>
            </a:extLst>
          </p:cNvPr>
          <p:cNvSpPr/>
          <p:nvPr/>
        </p:nvSpPr>
        <p:spPr>
          <a:xfrm flipV="1">
            <a:off x="6865365" y="1492706"/>
            <a:ext cx="2" cy="649350"/>
          </a:xfrm>
          <a:prstGeom prst="line">
            <a:avLst/>
          </a:prstGeom>
          <a:ln w="19050" cap="flat">
            <a:solidFill>
              <a:srgbClr val="04AA9E"/>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 name="AutoShape 14">
            <a:extLst>
              <a:ext uri="{FF2B5EF4-FFF2-40B4-BE49-F238E27FC236}">
                <a16:creationId xmlns:a16="http://schemas.microsoft.com/office/drawing/2014/main" id="{3BA0123C-C0BD-1FE4-CF29-415B8A809AE7}"/>
              </a:ext>
            </a:extLst>
          </p:cNvPr>
          <p:cNvSpPr/>
          <p:nvPr/>
        </p:nvSpPr>
        <p:spPr>
          <a:xfrm flipH="1" flipV="1">
            <a:off x="11527366" y="1469300"/>
            <a:ext cx="3" cy="672760"/>
          </a:xfrm>
          <a:prstGeom prst="line">
            <a:avLst/>
          </a:prstGeom>
          <a:ln w="19050" cap="flat">
            <a:solidFill>
              <a:srgbClr val="05BFB2"/>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nvGrpSpPr>
          <p:cNvPr id="25" name="Group 24">
            <a:extLst>
              <a:ext uri="{FF2B5EF4-FFF2-40B4-BE49-F238E27FC236}">
                <a16:creationId xmlns:a16="http://schemas.microsoft.com/office/drawing/2014/main" id="{E4061075-69D1-5F67-761E-A9D177615F04}"/>
              </a:ext>
            </a:extLst>
          </p:cNvPr>
          <p:cNvGrpSpPr/>
          <p:nvPr/>
        </p:nvGrpSpPr>
        <p:grpSpPr>
          <a:xfrm>
            <a:off x="448976" y="1676992"/>
            <a:ext cx="2766233" cy="510139"/>
            <a:chOff x="0" y="0"/>
            <a:chExt cx="1186117" cy="175320"/>
          </a:xfrm>
        </p:grpSpPr>
        <p:sp>
          <p:nvSpPr>
            <p:cNvPr id="27" name="Freeform 23">
              <a:extLst>
                <a:ext uri="{FF2B5EF4-FFF2-40B4-BE49-F238E27FC236}">
                  <a16:creationId xmlns:a16="http://schemas.microsoft.com/office/drawing/2014/main" id="{F0E89A23-CC4F-D9A4-6A2E-CB616489B534}"/>
                </a:ext>
              </a:extLst>
            </p:cNvPr>
            <p:cNvSpPr/>
            <p:nvPr/>
          </p:nvSpPr>
          <p:spPr>
            <a:xfrm>
              <a:off x="0" y="0"/>
              <a:ext cx="1186117" cy="175320"/>
            </a:xfrm>
            <a:custGeom>
              <a:avLst/>
              <a:gdLst/>
              <a:ahLst/>
              <a:cxnLst/>
              <a:rect l="l" t="t" r="r" b="b"/>
              <a:pathLst>
                <a:path w="1186117" h="175320">
                  <a:moveTo>
                    <a:pt x="0" y="0"/>
                  </a:moveTo>
                  <a:lnTo>
                    <a:pt x="1186117" y="0"/>
                  </a:lnTo>
                  <a:lnTo>
                    <a:pt x="1186117" y="175320"/>
                  </a:lnTo>
                  <a:lnTo>
                    <a:pt x="0" y="175320"/>
                  </a:lnTo>
                  <a:close/>
                </a:path>
              </a:pathLst>
            </a:custGeom>
            <a:solidFill>
              <a:srgbClr val="04AA9E"/>
            </a:solidFill>
            <a:ln w="28575">
              <a:no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TextBox 24">
              <a:extLst>
                <a:ext uri="{FF2B5EF4-FFF2-40B4-BE49-F238E27FC236}">
                  <a16:creationId xmlns:a16="http://schemas.microsoft.com/office/drawing/2014/main" id="{3D5234BA-82CE-2E4E-93B2-0BC0F8452B02}"/>
                </a:ext>
              </a:extLst>
            </p:cNvPr>
            <p:cNvSpPr txBox="1"/>
            <p:nvPr/>
          </p:nvSpPr>
          <p:spPr>
            <a:xfrm>
              <a:off x="0" y="0"/>
              <a:ext cx="1186117" cy="175320"/>
            </a:xfrm>
            <a:prstGeom prst="rect">
              <a:avLst/>
            </a:prstGeom>
            <a:ln w="28575">
              <a:solidFill>
                <a:schemeClr val="tx2"/>
              </a:solidFill>
            </a:ln>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spcBef>
                  <a:spcPct val="0"/>
                </a:spcBef>
              </a:pPr>
              <a:r>
                <a:rPr lang="en-US" sz="1200" b="1">
                  <a:solidFill>
                    <a:srgbClr val="FFFFFF"/>
                  </a:solidFill>
                  <a:latin typeface="Source Sans Pro" panose="020B0503030403020204" pitchFamily="34" charset="0"/>
                  <a:ea typeface="Source Sans Pro" panose="020B0503030403020204" pitchFamily="34" charset="0"/>
                  <a:cs typeface="Montserrat Bold"/>
                  <a:sym typeface="Montserrat Bold"/>
                </a:rPr>
                <a:t>Short Term </a:t>
              </a:r>
            </a:p>
          </p:txBody>
        </p:sp>
      </p:grpSp>
      <p:sp>
        <p:nvSpPr>
          <p:cNvPr id="35" name="TextBox 34">
            <a:extLst>
              <a:ext uri="{FF2B5EF4-FFF2-40B4-BE49-F238E27FC236}">
                <a16:creationId xmlns:a16="http://schemas.microsoft.com/office/drawing/2014/main" id="{36AC6248-8663-B6A7-E7B3-41D0327C612C}"/>
              </a:ext>
            </a:extLst>
          </p:cNvPr>
          <p:cNvSpPr txBox="1"/>
          <p:nvPr/>
        </p:nvSpPr>
        <p:spPr>
          <a:xfrm>
            <a:off x="2738534" y="1166639"/>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6 Months</a:t>
            </a:r>
          </a:p>
        </p:txBody>
      </p:sp>
      <p:sp>
        <p:nvSpPr>
          <p:cNvPr id="37" name="TextBox 36">
            <a:extLst>
              <a:ext uri="{FF2B5EF4-FFF2-40B4-BE49-F238E27FC236}">
                <a16:creationId xmlns:a16="http://schemas.microsoft.com/office/drawing/2014/main" id="{FEA7935E-C5E3-37AC-DF09-B47D3A56281F}"/>
              </a:ext>
            </a:extLst>
          </p:cNvPr>
          <p:cNvSpPr txBox="1"/>
          <p:nvPr/>
        </p:nvSpPr>
        <p:spPr>
          <a:xfrm>
            <a:off x="6425767" y="1143233"/>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2 Years</a:t>
            </a:r>
          </a:p>
        </p:txBody>
      </p:sp>
      <p:sp>
        <p:nvSpPr>
          <p:cNvPr id="2" name="TextBox 1">
            <a:extLst>
              <a:ext uri="{FF2B5EF4-FFF2-40B4-BE49-F238E27FC236}">
                <a16:creationId xmlns:a16="http://schemas.microsoft.com/office/drawing/2014/main" id="{DDB5B2D4-DC48-81A2-2E28-E27DFA8976D3}"/>
              </a:ext>
            </a:extLst>
          </p:cNvPr>
          <p:cNvSpPr txBox="1"/>
          <p:nvPr/>
        </p:nvSpPr>
        <p:spPr>
          <a:xfrm>
            <a:off x="11001654" y="1176998"/>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5 Years</a:t>
            </a:r>
          </a:p>
        </p:txBody>
      </p:sp>
      <p:sp>
        <p:nvSpPr>
          <p:cNvPr id="8" name="TextBox 7">
            <a:extLst>
              <a:ext uri="{FF2B5EF4-FFF2-40B4-BE49-F238E27FC236}">
                <a16:creationId xmlns:a16="http://schemas.microsoft.com/office/drawing/2014/main" id="{568DCADE-3C12-2E0D-F420-1D2BFAC524AC}"/>
              </a:ext>
            </a:extLst>
          </p:cNvPr>
          <p:cNvSpPr txBox="1"/>
          <p:nvPr/>
        </p:nvSpPr>
        <p:spPr>
          <a:xfrm>
            <a:off x="448976" y="2382729"/>
            <a:ext cx="7537219" cy="4427943"/>
          </a:xfrm>
          <a:prstGeom prst="rect">
            <a:avLst/>
          </a:prstGeom>
          <a:noFill/>
        </p:spPr>
        <p:txBody>
          <a:bodyPr wrap="square">
            <a:spAutoFit/>
          </a:bodyPr>
          <a:lstStyle/>
          <a:p>
            <a:pPr marL="228600" indent="-228600" algn="just">
              <a:spcAft>
                <a:spcPts val="600"/>
              </a:spcAft>
              <a:buFont typeface="+mj-lt"/>
              <a:buAutoNum type="arabicPeriod"/>
            </a:pPr>
            <a:r>
              <a:rPr lang="en-GB" sz="1600" dirty="0">
                <a:effectLst/>
                <a:latin typeface="Times New Roman" panose="02020603050405020304" pitchFamily="18" charset="0"/>
                <a:ea typeface="Source Sans Pro" panose="020B0503030403020204" pitchFamily="34" charset="0"/>
                <a:cs typeface="Times New Roman" panose="02020603050405020304" pitchFamily="18" charset="0"/>
              </a:rPr>
              <a:t>Achieve 100% Inventory of Hazardous Materials (IHM) compliance..</a:t>
            </a:r>
          </a:p>
          <a:p>
            <a:pPr marL="228600" indent="-228600" algn="just">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Create a National Ship Recycling Database integrated into the NLP-Marine platform for real-time reporting of recycling activity, IHM data, and end-of- life material recovery rates.</a:t>
            </a:r>
          </a:p>
          <a:p>
            <a:pPr marL="228600" indent="-228600" algn="just">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Develop an End-of-Life Ship Circular Economy Roadmap to maximise steel and non-ferrous metal recovery, promote material reuse, and link to the domestic sector.</a:t>
            </a:r>
          </a:p>
          <a:p>
            <a:pPr marL="228600" indent="-228600" algn="just">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Provide targeted financial incentives (credit lines, tax rebates) for yards adopting advanced containment systems and other forms of Ship recycling methods.</a:t>
            </a:r>
          </a:p>
          <a:p>
            <a:pPr marL="228600" indent="-228600" algn="just">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Integrate third-party environmental auditing into recycling yard certification.</a:t>
            </a:r>
          </a:p>
          <a:p>
            <a:pPr marL="228600" indent="-228600" algn="just">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Align with global best practices for workers safety, medical facilities, environmental protection, and automation in dismantling</a:t>
            </a:r>
          </a:p>
          <a:p>
            <a:pPr marL="228600" indent="-228600" algn="just">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Constitute SRCARP Steering Committee under NGSCC with DGS ,GMB, IRS, Classification Societies, NABL-accredited labs, SRIA and technical support by Academia</a:t>
            </a:r>
          </a:p>
          <a:p>
            <a:pPr algn="just">
              <a:lnSpc>
                <a:spcPct val="140000"/>
              </a:lnSpc>
              <a:spcBef>
                <a:spcPts val="600"/>
              </a:spcBef>
              <a:spcAft>
                <a:spcPts val="600"/>
              </a:spcAft>
              <a:buNone/>
            </a:pPr>
            <a:endParaRPr lang="en-GB" sz="1400" b="1" dirty="0">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p:txBody>
      </p:sp>
      <p:pic>
        <p:nvPicPr>
          <p:cNvPr id="9" name="Picture Placeholder 14" descr="Pile of storage crates">
            <a:extLst>
              <a:ext uri="{FF2B5EF4-FFF2-40B4-BE49-F238E27FC236}">
                <a16:creationId xmlns:a16="http://schemas.microsoft.com/office/drawing/2014/main" id="{B36E5090-1D44-1FA5-415A-B0CAA5AFBAF3}"/>
              </a:ext>
            </a:extLst>
          </p:cNvPr>
          <p:cNvPicPr>
            <a:picLocks noChangeAspect="1"/>
          </p:cNvPicPr>
          <p:nvPr/>
        </p:nvPicPr>
        <p:blipFill>
          <a:blip r:embed="rId7">
            <a:extLst>
              <a:ext uri="{28A0092B-C50C-407E-A947-70E740481C1C}">
                <a14:useLocalDpi xmlns:a14="http://schemas.microsoft.com/office/drawing/2010/main" val="0"/>
              </a:ext>
            </a:extLst>
          </a:blip>
          <a:srcRect l="48890" r="214"/>
          <a:stretch>
            <a:fillRect/>
          </a:stretch>
        </p:blipFill>
        <p:spPr>
          <a:xfrm>
            <a:off x="8223268" y="2236526"/>
            <a:ext cx="3304098" cy="4319849"/>
          </a:xfrm>
          <a:prstGeom prst="rect">
            <a:avLst/>
          </a:prstGeom>
        </p:spPr>
      </p:pic>
    </p:spTree>
    <p:extLst>
      <p:ext uri="{BB962C8B-B14F-4D97-AF65-F5344CB8AC3E}">
        <p14:creationId xmlns:p14="http://schemas.microsoft.com/office/powerpoint/2010/main" val="2687988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BBC16-2AA3-08F2-F213-B14BD89921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BB7801-BFE3-3978-2C60-470FD9BFC8CD}"/>
              </a:ext>
            </a:extLst>
          </p:cNvPr>
          <p:cNvGraphicFramePr>
            <a:graphicFrameLocks noChangeAspect="1"/>
          </p:cNvGraphicFramePr>
          <p:nvPr>
            <p:custDataLst>
              <p:tags r:id="rId1"/>
            </p:custDataLst>
            <p:extLst>
              <p:ext uri="{D42A27DB-BD31-4B8C-83A1-F6EECF244321}">
                <p14:modId xmlns:p14="http://schemas.microsoft.com/office/powerpoint/2010/main" val="22393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7" name="think-cell data - do not delete" hidden="1">
                        <a:extLst>
                          <a:ext uri="{FF2B5EF4-FFF2-40B4-BE49-F238E27FC236}">
                            <a16:creationId xmlns:a16="http://schemas.microsoft.com/office/drawing/2014/main" id="{01BB7801-BFE3-3978-2C60-470FD9BFC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1AD8666A-07AF-CC4B-DB6D-FBD788C116A8}"/>
              </a:ext>
            </a:extLst>
          </p:cNvPr>
          <p:cNvGrpSpPr/>
          <p:nvPr/>
        </p:nvGrpSpPr>
        <p:grpSpPr>
          <a:xfrm>
            <a:off x="448976" y="1666196"/>
            <a:ext cx="2661650" cy="442747"/>
            <a:chOff x="0" y="0"/>
            <a:chExt cx="1186117" cy="175320"/>
          </a:xfrm>
        </p:grpSpPr>
        <p:sp>
          <p:nvSpPr>
            <p:cNvPr id="20" name="Freeform 23">
              <a:extLst>
                <a:ext uri="{FF2B5EF4-FFF2-40B4-BE49-F238E27FC236}">
                  <a16:creationId xmlns:a16="http://schemas.microsoft.com/office/drawing/2014/main" id="{D1ADAB4F-E186-E203-5C42-2003F175CE43}"/>
                </a:ext>
              </a:extLst>
            </p:cNvPr>
            <p:cNvSpPr/>
            <p:nvPr/>
          </p:nvSpPr>
          <p:spPr>
            <a:xfrm>
              <a:off x="0" y="0"/>
              <a:ext cx="1186117" cy="175320"/>
            </a:xfrm>
            <a:custGeom>
              <a:avLst/>
              <a:gdLst/>
              <a:ahLst/>
              <a:cxnLst/>
              <a:rect l="l" t="t" r="r" b="b"/>
              <a:pathLst>
                <a:path w="1186117" h="175320">
                  <a:moveTo>
                    <a:pt x="0" y="0"/>
                  </a:moveTo>
                  <a:lnTo>
                    <a:pt x="1186117" y="0"/>
                  </a:lnTo>
                  <a:lnTo>
                    <a:pt x="1186117" y="175320"/>
                  </a:lnTo>
                  <a:lnTo>
                    <a:pt x="0" y="175320"/>
                  </a:lnTo>
                  <a:close/>
                </a:path>
              </a:pathLst>
            </a:custGeom>
            <a:solidFill>
              <a:srgbClr val="04AA9E"/>
            </a:solidFill>
            <a:ln w="28575">
              <a:no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TextBox 24">
              <a:extLst>
                <a:ext uri="{FF2B5EF4-FFF2-40B4-BE49-F238E27FC236}">
                  <a16:creationId xmlns:a16="http://schemas.microsoft.com/office/drawing/2014/main" id="{071B7CD1-FA07-8003-CAAC-1246C1790C09}"/>
                </a:ext>
              </a:extLst>
            </p:cNvPr>
            <p:cNvSpPr txBox="1"/>
            <p:nvPr/>
          </p:nvSpPr>
          <p:spPr>
            <a:xfrm>
              <a:off x="0" y="0"/>
              <a:ext cx="1186117" cy="175320"/>
            </a:xfrm>
            <a:prstGeom prst="rect">
              <a:avLst/>
            </a:prstGeom>
            <a:ln w="28575">
              <a:noFill/>
            </a:ln>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spcBef>
                  <a:spcPct val="0"/>
                </a:spcBef>
              </a:pPr>
              <a:r>
                <a:rPr lang="en-US" sz="1200" b="1">
                  <a:solidFill>
                    <a:srgbClr val="FFFFFF"/>
                  </a:solidFill>
                  <a:latin typeface="Source Sans Pro" panose="020B0503030403020204" pitchFamily="34" charset="0"/>
                  <a:ea typeface="Source Sans Pro" panose="020B0503030403020204" pitchFamily="34" charset="0"/>
                  <a:cs typeface="Montserrat Bold"/>
                  <a:sym typeface="Montserrat Bold"/>
                </a:rPr>
                <a:t>Short Term </a:t>
              </a:r>
            </a:p>
          </p:txBody>
        </p:sp>
      </p:grpSp>
      <p:sp>
        <p:nvSpPr>
          <p:cNvPr id="16" name="AutoShape 12">
            <a:extLst>
              <a:ext uri="{FF2B5EF4-FFF2-40B4-BE49-F238E27FC236}">
                <a16:creationId xmlns:a16="http://schemas.microsoft.com/office/drawing/2014/main" id="{4E60299D-F46A-00CF-266D-09BBBFCDD2E5}"/>
              </a:ext>
            </a:extLst>
          </p:cNvPr>
          <p:cNvSpPr/>
          <p:nvPr/>
        </p:nvSpPr>
        <p:spPr>
          <a:xfrm flipV="1">
            <a:off x="6797390" y="1436188"/>
            <a:ext cx="2" cy="649350"/>
          </a:xfrm>
          <a:prstGeom prst="line">
            <a:avLst/>
          </a:prstGeom>
          <a:ln w="19050" cap="flat">
            <a:solidFill>
              <a:srgbClr val="04AA9E"/>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 name="AutoShape 11">
            <a:extLst>
              <a:ext uri="{FF2B5EF4-FFF2-40B4-BE49-F238E27FC236}">
                <a16:creationId xmlns:a16="http://schemas.microsoft.com/office/drawing/2014/main" id="{47D96C86-6762-02ED-3594-882EF2C8E248}"/>
              </a:ext>
            </a:extLst>
          </p:cNvPr>
          <p:cNvSpPr/>
          <p:nvPr/>
        </p:nvSpPr>
        <p:spPr>
          <a:xfrm flipH="1" flipV="1">
            <a:off x="3133353" y="1436187"/>
            <a:ext cx="3" cy="625288"/>
          </a:xfrm>
          <a:prstGeom prst="line">
            <a:avLst/>
          </a:prstGeom>
          <a:ln w="19050" cap="flat">
            <a:solidFill>
              <a:srgbClr val="04AA9E"/>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 name="Title 2">
            <a:extLst>
              <a:ext uri="{FF2B5EF4-FFF2-40B4-BE49-F238E27FC236}">
                <a16:creationId xmlns:a16="http://schemas.microsoft.com/office/drawing/2014/main" id="{17E048E6-94FB-6CBB-D580-947997E10D34}"/>
              </a:ext>
            </a:extLst>
          </p:cNvPr>
          <p:cNvSpPr>
            <a:spLocks noGrp="1"/>
          </p:cNvSpPr>
          <p:nvPr>
            <p:ph type="title"/>
          </p:nvPr>
        </p:nvSpPr>
        <p:spPr/>
        <p:txBody>
          <a:bodyPr vert="horz" lIns="0" tIns="0" rIns="0" bIns="0" rtlCol="0" anchor="t" anchorCtr="0">
            <a:noAutofit/>
          </a:bodyPr>
          <a:lstStyle/>
          <a:p>
            <a:pPr algn="ctr"/>
            <a:r>
              <a:rPr lang="en-GB" sz="4000" b="1">
                <a:latin typeface="Source Sans Pro" panose="020B0503030403020204" pitchFamily="34" charset="0"/>
                <a:ea typeface="Source Sans Pro" panose="020B0503030403020204" pitchFamily="34" charset="0"/>
              </a:rPr>
              <a:t>Indicative Action Pathway</a:t>
            </a:r>
          </a:p>
        </p:txBody>
      </p:sp>
      <p:pic>
        <p:nvPicPr>
          <p:cNvPr id="4" name="Picture 2">
            <a:extLst>
              <a:ext uri="{FF2B5EF4-FFF2-40B4-BE49-F238E27FC236}">
                <a16:creationId xmlns:a16="http://schemas.microsoft.com/office/drawing/2014/main" id="{27177679-6A72-EA0D-5913-E776C28D48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45C5FE10-CD62-7694-E7A3-72B1713FAA27}"/>
              </a:ext>
            </a:extLst>
          </p:cNvPr>
          <p:cNvGrpSpPr/>
          <p:nvPr/>
        </p:nvGrpSpPr>
        <p:grpSpPr>
          <a:xfrm>
            <a:off x="6825152" y="1654170"/>
            <a:ext cx="4675878" cy="466801"/>
            <a:chOff x="0" y="-9525"/>
            <a:chExt cx="1182219" cy="184845"/>
          </a:xfrm>
        </p:grpSpPr>
        <p:sp>
          <p:nvSpPr>
            <p:cNvPr id="9" name="Freeform 6">
              <a:extLst>
                <a:ext uri="{FF2B5EF4-FFF2-40B4-BE49-F238E27FC236}">
                  <a16:creationId xmlns:a16="http://schemas.microsoft.com/office/drawing/2014/main" id="{3F220BF5-0448-1603-F2D4-27A77FD9DA2A}"/>
                </a:ext>
              </a:extLst>
            </p:cNvPr>
            <p:cNvSpPr/>
            <p:nvPr/>
          </p:nvSpPr>
          <p:spPr>
            <a:xfrm>
              <a:off x="0" y="0"/>
              <a:ext cx="1182219" cy="175320"/>
            </a:xfrm>
            <a:custGeom>
              <a:avLst/>
              <a:gdLst/>
              <a:ahLst/>
              <a:cxnLst/>
              <a:rect l="l" t="t" r="r" b="b"/>
              <a:pathLst>
                <a:path w="1182219" h="175320">
                  <a:moveTo>
                    <a:pt x="0" y="0"/>
                  </a:moveTo>
                  <a:lnTo>
                    <a:pt x="1182219" y="0"/>
                  </a:lnTo>
                  <a:lnTo>
                    <a:pt x="1182219" y="175320"/>
                  </a:lnTo>
                  <a:lnTo>
                    <a:pt x="0" y="175320"/>
                  </a:lnTo>
                  <a:close/>
                </a:path>
              </a:pathLst>
            </a:custGeom>
            <a:solidFill>
              <a:srgbClr val="04AA9E"/>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TextBox 7">
              <a:extLst>
                <a:ext uri="{FF2B5EF4-FFF2-40B4-BE49-F238E27FC236}">
                  <a16:creationId xmlns:a16="http://schemas.microsoft.com/office/drawing/2014/main" id="{FBBFBFFD-EE49-B233-7304-6BAAFCCAF734}"/>
                </a:ext>
              </a:extLst>
            </p:cNvPr>
            <p:cNvSpPr txBox="1"/>
            <p:nvPr/>
          </p:nvSpPr>
          <p:spPr>
            <a:xfrm>
              <a:off x="0" y="-9525"/>
              <a:ext cx="1182219" cy="184845"/>
            </a:xfrm>
            <a:prstGeom prst="rect">
              <a:avLst/>
            </a:prstGeom>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pPr>
              <a:r>
                <a:rPr lang="en-US" sz="1200" b="1">
                  <a:solidFill>
                    <a:srgbClr val="FFFFFF"/>
                  </a:solidFill>
                  <a:latin typeface="Source Sans Pro" panose="020B0503030403020204" pitchFamily="34" charset="0"/>
                  <a:ea typeface="Source Sans Pro" panose="020B0503030403020204" pitchFamily="34" charset="0"/>
                  <a:cs typeface="Montserrat Bold"/>
                  <a:sym typeface="Montserrat Bold"/>
                </a:rPr>
                <a:t>Long Term </a:t>
              </a:r>
            </a:p>
          </p:txBody>
        </p:sp>
      </p:grpSp>
      <p:sp>
        <p:nvSpPr>
          <p:cNvPr id="18" name="AutoShape 14">
            <a:extLst>
              <a:ext uri="{FF2B5EF4-FFF2-40B4-BE49-F238E27FC236}">
                <a16:creationId xmlns:a16="http://schemas.microsoft.com/office/drawing/2014/main" id="{F6F64371-0DAD-54AE-A40A-AC3BA7ECE0CB}"/>
              </a:ext>
            </a:extLst>
          </p:cNvPr>
          <p:cNvSpPr/>
          <p:nvPr/>
        </p:nvSpPr>
        <p:spPr>
          <a:xfrm flipH="1" flipV="1">
            <a:off x="11459391" y="1412782"/>
            <a:ext cx="3" cy="672760"/>
          </a:xfrm>
          <a:prstGeom prst="line">
            <a:avLst/>
          </a:prstGeom>
          <a:ln w="19050" cap="flat">
            <a:solidFill>
              <a:srgbClr val="05BFB2"/>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 name="TextBox 21">
            <a:extLst>
              <a:ext uri="{FF2B5EF4-FFF2-40B4-BE49-F238E27FC236}">
                <a16:creationId xmlns:a16="http://schemas.microsoft.com/office/drawing/2014/main" id="{E207B1CE-4EB8-01E7-4992-B48F264A9D3A}"/>
              </a:ext>
            </a:extLst>
          </p:cNvPr>
          <p:cNvSpPr txBox="1"/>
          <p:nvPr/>
        </p:nvSpPr>
        <p:spPr>
          <a:xfrm>
            <a:off x="2670559" y="1110121"/>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6 Months</a:t>
            </a:r>
          </a:p>
        </p:txBody>
      </p:sp>
      <p:sp>
        <p:nvSpPr>
          <p:cNvPr id="23" name="TextBox 22">
            <a:extLst>
              <a:ext uri="{FF2B5EF4-FFF2-40B4-BE49-F238E27FC236}">
                <a16:creationId xmlns:a16="http://schemas.microsoft.com/office/drawing/2014/main" id="{71154BC5-0501-6FCF-7B8D-00BF8FC6F672}"/>
              </a:ext>
            </a:extLst>
          </p:cNvPr>
          <p:cNvSpPr txBox="1"/>
          <p:nvPr/>
        </p:nvSpPr>
        <p:spPr>
          <a:xfrm>
            <a:off x="6357792" y="1086715"/>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2 Years</a:t>
            </a:r>
          </a:p>
        </p:txBody>
      </p:sp>
      <p:sp>
        <p:nvSpPr>
          <p:cNvPr id="26" name="TextBox 25">
            <a:extLst>
              <a:ext uri="{FF2B5EF4-FFF2-40B4-BE49-F238E27FC236}">
                <a16:creationId xmlns:a16="http://schemas.microsoft.com/office/drawing/2014/main" id="{9E084591-9C9A-7314-9ED8-C3D4844F1CCF}"/>
              </a:ext>
            </a:extLst>
          </p:cNvPr>
          <p:cNvSpPr txBox="1"/>
          <p:nvPr/>
        </p:nvSpPr>
        <p:spPr>
          <a:xfrm>
            <a:off x="10933679" y="1120480"/>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5 Years</a:t>
            </a:r>
          </a:p>
        </p:txBody>
      </p:sp>
      <p:sp>
        <p:nvSpPr>
          <p:cNvPr id="30" name="TextBox 29">
            <a:extLst>
              <a:ext uri="{FF2B5EF4-FFF2-40B4-BE49-F238E27FC236}">
                <a16:creationId xmlns:a16="http://schemas.microsoft.com/office/drawing/2014/main" id="{4B0462DE-A9E3-9A81-7F7D-192788B00720}"/>
              </a:ext>
            </a:extLst>
          </p:cNvPr>
          <p:cNvSpPr txBox="1"/>
          <p:nvPr/>
        </p:nvSpPr>
        <p:spPr>
          <a:xfrm>
            <a:off x="448976" y="2382729"/>
            <a:ext cx="7537219" cy="4493538"/>
          </a:xfrm>
          <a:prstGeom prst="rect">
            <a:avLst/>
          </a:prstGeom>
          <a:noFill/>
        </p:spPr>
        <p:txBody>
          <a:bodyPr wrap="square">
            <a:spAutoFit/>
          </a:bodyPr>
          <a:lstStyle/>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Upgrade all Indian ship recycling facilities to be fully HKC-compliant with certified infrastructure, trained workforce, and documented environmental safeguards</a:t>
            </a:r>
            <a:endParaRPr lang="en-GB" sz="1600" b="0" i="0" u="none" strike="noStrike" dirty="0">
              <a:effectLst/>
              <a:latin typeface="Times New Roman" panose="02020603050405020304" pitchFamily="18"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Collect energy data, including process logs, transport emissions, waste handling records and publish the National Ship Recycling Carbon Baseline Report</a:t>
            </a:r>
            <a:endParaRPr lang="en-GB" sz="1600" b="0" i="0" u="none" strike="noStrike" dirty="0">
              <a:effectLst/>
              <a:latin typeface="Times New Roman" panose="02020603050405020304" pitchFamily="18"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Establish a Green Ship Recycling Park at </a:t>
            </a:r>
            <a:r>
              <a:rPr lang="en-GB" sz="1600" b="0" i="0" u="none" strike="noStrike" kern="1200" dirty="0" err="1">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Alang</a:t>
            </a: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 with centralised hazardous waste management.</a:t>
            </a:r>
            <a:endParaRPr lang="en-GB" sz="1600" b="0" i="0" u="none" strike="noStrike" dirty="0">
              <a:effectLst/>
              <a:latin typeface="Times New Roman" panose="02020603050405020304" pitchFamily="18"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Develop bilateral agreements with ship- owning nations to channel end-of-life vessels to certified Indian yards under transparent green contracts</a:t>
            </a:r>
            <a:endParaRPr lang="en-GB" sz="1600" b="0" i="0" u="none" strike="noStrike" dirty="0">
              <a:effectLst/>
              <a:latin typeface="Times New Roman" panose="02020603050405020304" pitchFamily="18"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Establish </a:t>
            </a:r>
            <a:r>
              <a:rPr lang="en-GB" sz="16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rPr>
              <a:t>a </a:t>
            </a: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National Training &amp; Certification Scheme for green ship recycling workers covering occupational health, hazardous waste handling, and emergency response</a:t>
            </a:r>
          </a:p>
          <a:p>
            <a:pPr marL="342900" indent="-342900" algn="just" fontAlgn="t">
              <a:spcBef>
                <a:spcPts val="600"/>
              </a:spcBef>
              <a:spcAft>
                <a:spcPts val="600"/>
              </a:spcAft>
              <a:buFont typeface="+mj-lt"/>
              <a:buAutoNum type="arabicPeriod"/>
            </a:pPr>
            <a:r>
              <a:rPr lang="en-GB" sz="1600" dirty="0">
                <a:latin typeface="Times New Roman" panose="02020603050405020304" pitchFamily="18" charset="0"/>
                <a:ea typeface="Source Sans Pro" panose="020B0503030403020204" pitchFamily="34" charset="0"/>
                <a:cs typeface="Times New Roman" panose="02020603050405020304" pitchFamily="18" charset="0"/>
              </a:rPr>
              <a:t>Design SRTRS digital platform architecture and finalise carbon accounting methodology (aligned with ISO 14067 and GHG Protocol).</a:t>
            </a:r>
            <a:endParaRPr lang="en-GB"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endParaRPr lang="en-GB" b="0" i="0" u="none" strike="noStrike" dirty="0">
              <a:effectLst/>
              <a:latin typeface="Times New Roman" panose="02020603050405020304" pitchFamily="18" charset="0"/>
              <a:cs typeface="Times New Roman" panose="02020603050405020304" pitchFamily="18" charset="0"/>
            </a:endParaRPr>
          </a:p>
        </p:txBody>
      </p:sp>
      <p:pic>
        <p:nvPicPr>
          <p:cNvPr id="37" name="Picture Placeholder 14" descr="Commercial dock with container cargo ship container storage and crane unloading ship">
            <a:extLst>
              <a:ext uri="{FF2B5EF4-FFF2-40B4-BE49-F238E27FC236}">
                <a16:creationId xmlns:a16="http://schemas.microsoft.com/office/drawing/2014/main" id="{5FE4AC32-84D8-48CF-DEED-2B9076992C65}"/>
              </a:ext>
            </a:extLst>
          </p:cNvPr>
          <p:cNvPicPr>
            <a:picLocks noChangeAspect="1"/>
          </p:cNvPicPr>
          <p:nvPr/>
        </p:nvPicPr>
        <p:blipFill>
          <a:blip r:embed="rId6">
            <a:extLst>
              <a:ext uri="{28A0092B-C50C-407E-A947-70E740481C1C}">
                <a14:useLocalDpi xmlns:a14="http://schemas.microsoft.com/office/drawing/2010/main" val="0"/>
              </a:ext>
            </a:extLst>
          </a:blip>
          <a:srcRect l="28513" r="28513"/>
          <a:stretch/>
        </p:blipFill>
        <p:spPr>
          <a:xfrm>
            <a:off x="8223268" y="2236526"/>
            <a:ext cx="3304098" cy="4319849"/>
          </a:xfrm>
          <a:prstGeom prst="rect">
            <a:avLst/>
          </a:prstGeom>
        </p:spPr>
      </p:pic>
      <p:grpSp>
        <p:nvGrpSpPr>
          <p:cNvPr id="2" name="Group 1">
            <a:extLst>
              <a:ext uri="{FF2B5EF4-FFF2-40B4-BE49-F238E27FC236}">
                <a16:creationId xmlns:a16="http://schemas.microsoft.com/office/drawing/2014/main" id="{FD65266C-A4DD-0638-DD2D-804CFBFDC549}"/>
              </a:ext>
            </a:extLst>
          </p:cNvPr>
          <p:cNvGrpSpPr/>
          <p:nvPr/>
        </p:nvGrpSpPr>
        <p:grpSpPr>
          <a:xfrm>
            <a:off x="3119471" y="1592710"/>
            <a:ext cx="3705673" cy="528261"/>
            <a:chOff x="0" y="-9525"/>
            <a:chExt cx="1186117" cy="184845"/>
          </a:xfrm>
        </p:grpSpPr>
        <p:sp>
          <p:nvSpPr>
            <p:cNvPr id="5" name="Freeform 3">
              <a:extLst>
                <a:ext uri="{FF2B5EF4-FFF2-40B4-BE49-F238E27FC236}">
                  <a16:creationId xmlns:a16="http://schemas.microsoft.com/office/drawing/2014/main" id="{A4A71957-4005-9923-F6AB-AD1C79C50E97}"/>
                </a:ext>
              </a:extLst>
            </p:cNvPr>
            <p:cNvSpPr/>
            <p:nvPr/>
          </p:nvSpPr>
          <p:spPr>
            <a:xfrm>
              <a:off x="0" y="0"/>
              <a:ext cx="1186117" cy="175320"/>
            </a:xfrm>
            <a:custGeom>
              <a:avLst/>
              <a:gdLst/>
              <a:ahLst/>
              <a:cxnLst/>
              <a:rect l="l" t="t" r="r" b="b"/>
              <a:pathLst>
                <a:path w="1186117" h="175320">
                  <a:moveTo>
                    <a:pt x="0" y="0"/>
                  </a:moveTo>
                  <a:lnTo>
                    <a:pt x="1186117" y="0"/>
                  </a:lnTo>
                  <a:lnTo>
                    <a:pt x="1186117" y="175320"/>
                  </a:lnTo>
                  <a:lnTo>
                    <a:pt x="0" y="175320"/>
                  </a:lnTo>
                  <a:close/>
                </a:path>
              </a:pathLst>
            </a:custGeom>
            <a:solidFill>
              <a:srgbClr val="05BFB2"/>
            </a:solidFill>
            <a:ln w="28575">
              <a:solidFill>
                <a:schemeClr val="tx2"/>
              </a:solid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 name="TextBox 4">
              <a:extLst>
                <a:ext uri="{FF2B5EF4-FFF2-40B4-BE49-F238E27FC236}">
                  <a16:creationId xmlns:a16="http://schemas.microsoft.com/office/drawing/2014/main" id="{FEFE7A1E-3CEC-8917-AD0D-5766AAE74632}"/>
                </a:ext>
              </a:extLst>
            </p:cNvPr>
            <p:cNvSpPr txBox="1"/>
            <p:nvPr/>
          </p:nvSpPr>
          <p:spPr>
            <a:xfrm>
              <a:off x="0" y="-9525"/>
              <a:ext cx="1186117" cy="184845"/>
            </a:xfrm>
            <a:prstGeom prst="rect">
              <a:avLst/>
            </a:prstGeom>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94"/>
                </a:lnSpc>
                <a:spcBef>
                  <a:spcPct val="0"/>
                </a:spcBef>
              </a:pPr>
              <a:r>
                <a:rPr lang="en-US" sz="1400" b="1">
                  <a:solidFill>
                    <a:srgbClr val="FFFFFF"/>
                  </a:solidFill>
                  <a:latin typeface="Source Sans Pro" panose="020B0503030403020204" pitchFamily="34" charset="0"/>
                  <a:ea typeface="Source Sans Pro" panose="020B0503030403020204" pitchFamily="34" charset="0"/>
                  <a:sym typeface="Montserrat Bold"/>
                </a:rPr>
                <a:t>Medium Term</a:t>
              </a:r>
            </a:p>
          </p:txBody>
        </p:sp>
      </p:grpSp>
    </p:spTree>
    <p:extLst>
      <p:ext uri="{BB962C8B-B14F-4D97-AF65-F5344CB8AC3E}">
        <p14:creationId xmlns:p14="http://schemas.microsoft.com/office/powerpoint/2010/main" val="24660949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B2A83-EE8E-1A46-481E-FC18BB33F5A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A01D19-BDEB-72B8-FCC6-655EF7A1B870}"/>
              </a:ext>
            </a:extLst>
          </p:cNvPr>
          <p:cNvGraphicFramePr>
            <a:graphicFrameLocks noChangeAspect="1"/>
          </p:cNvGraphicFramePr>
          <p:nvPr>
            <p:custDataLst>
              <p:tags r:id="rId1"/>
            </p:custDataLst>
            <p:extLst>
              <p:ext uri="{D42A27DB-BD31-4B8C-83A1-F6EECF244321}">
                <p14:modId xmlns:p14="http://schemas.microsoft.com/office/powerpoint/2010/main" val="302557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7" name="think-cell data - do not delete" hidden="1">
                        <a:extLst>
                          <a:ext uri="{FF2B5EF4-FFF2-40B4-BE49-F238E27FC236}">
                            <a16:creationId xmlns:a16="http://schemas.microsoft.com/office/drawing/2014/main" id="{D7A01D19-BDEB-72B8-FCC6-655EF7A1B8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AutoShape 14">
            <a:extLst>
              <a:ext uri="{FF2B5EF4-FFF2-40B4-BE49-F238E27FC236}">
                <a16:creationId xmlns:a16="http://schemas.microsoft.com/office/drawing/2014/main" id="{E930BD9D-425C-C4CF-9575-5BD244810035}"/>
              </a:ext>
            </a:extLst>
          </p:cNvPr>
          <p:cNvSpPr/>
          <p:nvPr/>
        </p:nvSpPr>
        <p:spPr>
          <a:xfrm flipH="1" flipV="1">
            <a:off x="11527354" y="1471205"/>
            <a:ext cx="13878" cy="715972"/>
          </a:xfrm>
          <a:prstGeom prst="line">
            <a:avLst/>
          </a:prstGeom>
          <a:ln w="19050" cap="flat">
            <a:solidFill>
              <a:srgbClr val="05BFB2"/>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 name="AutoShape 12">
            <a:extLst>
              <a:ext uri="{FF2B5EF4-FFF2-40B4-BE49-F238E27FC236}">
                <a16:creationId xmlns:a16="http://schemas.microsoft.com/office/drawing/2014/main" id="{5309F765-2A88-B703-31A9-AD2656467A84}"/>
              </a:ext>
            </a:extLst>
          </p:cNvPr>
          <p:cNvSpPr/>
          <p:nvPr/>
        </p:nvSpPr>
        <p:spPr>
          <a:xfrm flipV="1">
            <a:off x="6667801" y="1462391"/>
            <a:ext cx="2" cy="649350"/>
          </a:xfrm>
          <a:prstGeom prst="line">
            <a:avLst/>
          </a:prstGeom>
          <a:ln w="19050" cap="flat">
            <a:solidFill>
              <a:srgbClr val="04AA9E"/>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 name="AutoShape 11">
            <a:extLst>
              <a:ext uri="{FF2B5EF4-FFF2-40B4-BE49-F238E27FC236}">
                <a16:creationId xmlns:a16="http://schemas.microsoft.com/office/drawing/2014/main" id="{588F0C92-A2ED-6E5D-3882-571ACB64A5F3}"/>
              </a:ext>
            </a:extLst>
          </p:cNvPr>
          <p:cNvSpPr/>
          <p:nvPr/>
        </p:nvSpPr>
        <p:spPr>
          <a:xfrm flipH="1" flipV="1">
            <a:off x="3003764" y="1462390"/>
            <a:ext cx="3" cy="625288"/>
          </a:xfrm>
          <a:prstGeom prst="line">
            <a:avLst/>
          </a:prstGeom>
          <a:ln w="19050" cap="flat">
            <a:solidFill>
              <a:srgbClr val="04AA9E"/>
            </a:solidFill>
            <a:prstDash val="solid"/>
            <a:headEnd type="none" w="sm" len="sm"/>
            <a:tailEnd type="diamond" w="lg" len="lg"/>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 name="Title 2">
            <a:extLst>
              <a:ext uri="{FF2B5EF4-FFF2-40B4-BE49-F238E27FC236}">
                <a16:creationId xmlns:a16="http://schemas.microsoft.com/office/drawing/2014/main" id="{D5DCD615-8A5A-615E-1380-F0725F16AE1E}"/>
              </a:ext>
            </a:extLst>
          </p:cNvPr>
          <p:cNvSpPr>
            <a:spLocks noGrp="1"/>
          </p:cNvSpPr>
          <p:nvPr>
            <p:ph type="title"/>
          </p:nvPr>
        </p:nvSpPr>
        <p:spPr/>
        <p:txBody>
          <a:bodyPr vert="horz" lIns="0" tIns="0" rIns="0" bIns="0" rtlCol="0" anchor="t" anchorCtr="0">
            <a:noAutofit/>
          </a:bodyPr>
          <a:lstStyle/>
          <a:p>
            <a:pPr algn="ctr"/>
            <a:r>
              <a:rPr lang="en-GB" sz="4000" b="1">
                <a:latin typeface="Source Sans Pro" panose="020B0503030403020204" pitchFamily="34" charset="0"/>
                <a:ea typeface="Source Sans Pro" panose="020B0503030403020204" pitchFamily="34" charset="0"/>
              </a:rPr>
              <a:t>Indicative Action Pathway</a:t>
            </a:r>
          </a:p>
        </p:txBody>
      </p:sp>
      <p:pic>
        <p:nvPicPr>
          <p:cNvPr id="4" name="Picture 2">
            <a:extLst>
              <a:ext uri="{FF2B5EF4-FFF2-40B4-BE49-F238E27FC236}">
                <a16:creationId xmlns:a16="http://schemas.microsoft.com/office/drawing/2014/main" id="{DBB1B120-D341-EA93-D313-AAD49A6B8E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156345BA-80C8-0043-89B6-36E497854710}"/>
              </a:ext>
            </a:extLst>
          </p:cNvPr>
          <p:cNvGrpSpPr/>
          <p:nvPr/>
        </p:nvGrpSpPr>
        <p:grpSpPr>
          <a:xfrm>
            <a:off x="3003764" y="1661961"/>
            <a:ext cx="3636275" cy="466801"/>
            <a:chOff x="0" y="-9525"/>
            <a:chExt cx="1186117" cy="184845"/>
          </a:xfrm>
        </p:grpSpPr>
        <p:sp>
          <p:nvSpPr>
            <p:cNvPr id="5" name="Freeform 3">
              <a:extLst>
                <a:ext uri="{FF2B5EF4-FFF2-40B4-BE49-F238E27FC236}">
                  <a16:creationId xmlns:a16="http://schemas.microsoft.com/office/drawing/2014/main" id="{17BFCC21-1DD2-84CE-4BB6-B6C6755C2077}"/>
                </a:ext>
              </a:extLst>
            </p:cNvPr>
            <p:cNvSpPr/>
            <p:nvPr/>
          </p:nvSpPr>
          <p:spPr>
            <a:xfrm>
              <a:off x="0" y="0"/>
              <a:ext cx="1186117" cy="175320"/>
            </a:xfrm>
            <a:custGeom>
              <a:avLst/>
              <a:gdLst/>
              <a:ahLst/>
              <a:cxnLst/>
              <a:rect l="l" t="t" r="r" b="b"/>
              <a:pathLst>
                <a:path w="1186117" h="175320">
                  <a:moveTo>
                    <a:pt x="0" y="0"/>
                  </a:moveTo>
                  <a:lnTo>
                    <a:pt x="1186117" y="0"/>
                  </a:lnTo>
                  <a:lnTo>
                    <a:pt x="1186117" y="175320"/>
                  </a:lnTo>
                  <a:lnTo>
                    <a:pt x="0" y="175320"/>
                  </a:lnTo>
                  <a:close/>
                </a:path>
              </a:pathLst>
            </a:custGeom>
            <a:solidFill>
              <a:srgbClr val="05BFB2"/>
            </a:solidFill>
            <a:ln w="28575">
              <a:no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 name="TextBox 4">
              <a:extLst>
                <a:ext uri="{FF2B5EF4-FFF2-40B4-BE49-F238E27FC236}">
                  <a16:creationId xmlns:a16="http://schemas.microsoft.com/office/drawing/2014/main" id="{0EBFF627-1810-0637-DEDA-059F24E3005B}"/>
                </a:ext>
              </a:extLst>
            </p:cNvPr>
            <p:cNvSpPr txBox="1"/>
            <p:nvPr/>
          </p:nvSpPr>
          <p:spPr>
            <a:xfrm>
              <a:off x="0" y="-9525"/>
              <a:ext cx="1186117" cy="184845"/>
            </a:xfrm>
            <a:prstGeom prst="rect">
              <a:avLst/>
            </a:prstGeom>
            <a:ln>
              <a:noFill/>
            </a:ln>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94"/>
                </a:lnSpc>
                <a:spcBef>
                  <a:spcPct val="0"/>
                </a:spcBef>
              </a:pPr>
              <a:r>
                <a:rPr lang="en-US" sz="1200" b="1">
                  <a:solidFill>
                    <a:srgbClr val="FFFFFF"/>
                  </a:solidFill>
                  <a:latin typeface="Source Sans Pro" panose="020B0503030403020204" pitchFamily="34" charset="0"/>
                  <a:ea typeface="Source Sans Pro" panose="020B0503030403020204" pitchFamily="34" charset="0"/>
                  <a:sym typeface="Montserrat Bold"/>
                </a:rPr>
                <a:t>Medium Term </a:t>
              </a:r>
            </a:p>
          </p:txBody>
        </p:sp>
      </p:grpSp>
      <p:grpSp>
        <p:nvGrpSpPr>
          <p:cNvPr id="8" name="Group 7">
            <a:extLst>
              <a:ext uri="{FF2B5EF4-FFF2-40B4-BE49-F238E27FC236}">
                <a16:creationId xmlns:a16="http://schemas.microsoft.com/office/drawing/2014/main" id="{AB4A43AA-8FA7-BAA4-DA32-09FF5D326A10}"/>
              </a:ext>
            </a:extLst>
          </p:cNvPr>
          <p:cNvGrpSpPr/>
          <p:nvPr/>
        </p:nvGrpSpPr>
        <p:grpSpPr>
          <a:xfrm>
            <a:off x="6653923" y="1561890"/>
            <a:ext cx="4873431" cy="625288"/>
            <a:chOff x="0" y="-9525"/>
            <a:chExt cx="1182219" cy="184845"/>
          </a:xfrm>
        </p:grpSpPr>
        <p:sp>
          <p:nvSpPr>
            <p:cNvPr id="9" name="Freeform 6">
              <a:extLst>
                <a:ext uri="{FF2B5EF4-FFF2-40B4-BE49-F238E27FC236}">
                  <a16:creationId xmlns:a16="http://schemas.microsoft.com/office/drawing/2014/main" id="{7E6C86E3-1316-D771-B230-07DB977F3670}"/>
                </a:ext>
              </a:extLst>
            </p:cNvPr>
            <p:cNvSpPr/>
            <p:nvPr/>
          </p:nvSpPr>
          <p:spPr>
            <a:xfrm>
              <a:off x="0" y="0"/>
              <a:ext cx="1182219" cy="175320"/>
            </a:xfrm>
            <a:custGeom>
              <a:avLst/>
              <a:gdLst/>
              <a:ahLst/>
              <a:cxnLst/>
              <a:rect l="l" t="t" r="r" b="b"/>
              <a:pathLst>
                <a:path w="1182219" h="175320">
                  <a:moveTo>
                    <a:pt x="0" y="0"/>
                  </a:moveTo>
                  <a:lnTo>
                    <a:pt x="1182219" y="0"/>
                  </a:lnTo>
                  <a:lnTo>
                    <a:pt x="1182219" y="175320"/>
                  </a:lnTo>
                  <a:lnTo>
                    <a:pt x="0" y="175320"/>
                  </a:lnTo>
                  <a:close/>
                </a:path>
              </a:pathLst>
            </a:custGeom>
            <a:solidFill>
              <a:srgbClr val="04AA9E"/>
            </a:solidFill>
            <a:ln w="28575">
              <a:solidFill>
                <a:srgbClr val="00338D"/>
              </a:solid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TextBox 7">
              <a:extLst>
                <a:ext uri="{FF2B5EF4-FFF2-40B4-BE49-F238E27FC236}">
                  <a16:creationId xmlns:a16="http://schemas.microsoft.com/office/drawing/2014/main" id="{87A59B3F-D757-0D26-A115-53DCE1FE134A}"/>
                </a:ext>
              </a:extLst>
            </p:cNvPr>
            <p:cNvSpPr txBox="1"/>
            <p:nvPr/>
          </p:nvSpPr>
          <p:spPr>
            <a:xfrm>
              <a:off x="0" y="-9525"/>
              <a:ext cx="1182219" cy="184845"/>
            </a:xfrm>
            <a:prstGeom prst="rect">
              <a:avLst/>
            </a:prstGeom>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pPr>
              <a:r>
                <a:rPr lang="en-US" sz="1400" b="1">
                  <a:solidFill>
                    <a:srgbClr val="FFFFFF"/>
                  </a:solidFill>
                  <a:latin typeface="Source Sans Pro" panose="020B0503030403020204" pitchFamily="34" charset="0"/>
                  <a:ea typeface="Source Sans Pro" panose="020B0503030403020204" pitchFamily="34" charset="0"/>
                  <a:cs typeface="Montserrat Bold"/>
                  <a:sym typeface="Montserrat Bold"/>
                </a:rPr>
                <a:t>Long Term </a:t>
              </a:r>
            </a:p>
          </p:txBody>
        </p:sp>
      </p:grpSp>
      <p:grpSp>
        <p:nvGrpSpPr>
          <p:cNvPr id="19" name="Group 18">
            <a:extLst>
              <a:ext uri="{FF2B5EF4-FFF2-40B4-BE49-F238E27FC236}">
                <a16:creationId xmlns:a16="http://schemas.microsoft.com/office/drawing/2014/main" id="{8B3F002C-342B-9C8D-7CF5-498CD19DB27C}"/>
              </a:ext>
            </a:extLst>
          </p:cNvPr>
          <p:cNvGrpSpPr/>
          <p:nvPr/>
        </p:nvGrpSpPr>
        <p:grpSpPr>
          <a:xfrm>
            <a:off x="448976" y="1685367"/>
            <a:ext cx="2568668" cy="442747"/>
            <a:chOff x="0" y="0"/>
            <a:chExt cx="1186117" cy="175320"/>
          </a:xfrm>
        </p:grpSpPr>
        <p:sp>
          <p:nvSpPr>
            <p:cNvPr id="20" name="Freeform 23">
              <a:extLst>
                <a:ext uri="{FF2B5EF4-FFF2-40B4-BE49-F238E27FC236}">
                  <a16:creationId xmlns:a16="http://schemas.microsoft.com/office/drawing/2014/main" id="{77D88314-6535-0700-8B95-8882A50F9E9F}"/>
                </a:ext>
              </a:extLst>
            </p:cNvPr>
            <p:cNvSpPr/>
            <p:nvPr/>
          </p:nvSpPr>
          <p:spPr>
            <a:xfrm>
              <a:off x="0" y="0"/>
              <a:ext cx="1186117" cy="175320"/>
            </a:xfrm>
            <a:custGeom>
              <a:avLst/>
              <a:gdLst/>
              <a:ahLst/>
              <a:cxnLst/>
              <a:rect l="l" t="t" r="r" b="b"/>
              <a:pathLst>
                <a:path w="1186117" h="175320">
                  <a:moveTo>
                    <a:pt x="0" y="0"/>
                  </a:moveTo>
                  <a:lnTo>
                    <a:pt x="1186117" y="0"/>
                  </a:lnTo>
                  <a:lnTo>
                    <a:pt x="1186117" y="175320"/>
                  </a:lnTo>
                  <a:lnTo>
                    <a:pt x="0" y="175320"/>
                  </a:lnTo>
                  <a:close/>
                </a:path>
              </a:pathLst>
            </a:custGeom>
            <a:solidFill>
              <a:srgbClr val="04AA9E"/>
            </a:solidFill>
            <a:ln w="28575">
              <a:no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TextBox 24">
              <a:extLst>
                <a:ext uri="{FF2B5EF4-FFF2-40B4-BE49-F238E27FC236}">
                  <a16:creationId xmlns:a16="http://schemas.microsoft.com/office/drawing/2014/main" id="{CD710D79-797A-D62E-BD67-53DA30D7A30E}"/>
                </a:ext>
              </a:extLst>
            </p:cNvPr>
            <p:cNvSpPr txBox="1"/>
            <p:nvPr/>
          </p:nvSpPr>
          <p:spPr>
            <a:xfrm>
              <a:off x="0" y="0"/>
              <a:ext cx="1186117" cy="175320"/>
            </a:xfrm>
            <a:prstGeom prst="rect">
              <a:avLst/>
            </a:prstGeom>
            <a:ln w="28575">
              <a:noFill/>
            </a:ln>
          </p:spPr>
          <p:txBody>
            <a:bodyPr lIns="27093" tIns="27093" rIns="27093" bIns="2709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1194"/>
                </a:lnSpc>
                <a:spcBef>
                  <a:spcPct val="0"/>
                </a:spcBef>
              </a:pPr>
              <a:r>
                <a:rPr lang="en-US" sz="1200" b="1">
                  <a:solidFill>
                    <a:srgbClr val="FFFFFF"/>
                  </a:solidFill>
                  <a:latin typeface="Source Sans Pro" panose="020B0503030403020204" pitchFamily="34" charset="0"/>
                  <a:ea typeface="Source Sans Pro" panose="020B0503030403020204" pitchFamily="34" charset="0"/>
                  <a:cs typeface="Montserrat Bold"/>
                  <a:sym typeface="Montserrat Bold"/>
                </a:rPr>
                <a:t>Short Term </a:t>
              </a:r>
            </a:p>
          </p:txBody>
        </p:sp>
      </p:grpSp>
      <p:sp>
        <p:nvSpPr>
          <p:cNvPr id="22" name="TextBox 21">
            <a:extLst>
              <a:ext uri="{FF2B5EF4-FFF2-40B4-BE49-F238E27FC236}">
                <a16:creationId xmlns:a16="http://schemas.microsoft.com/office/drawing/2014/main" id="{6EB47FC8-8775-0CE0-F4E9-719BBCC64FB0}"/>
              </a:ext>
            </a:extLst>
          </p:cNvPr>
          <p:cNvSpPr txBox="1"/>
          <p:nvPr/>
        </p:nvSpPr>
        <p:spPr>
          <a:xfrm>
            <a:off x="2540970" y="1136324"/>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6 Months</a:t>
            </a:r>
          </a:p>
        </p:txBody>
      </p:sp>
      <p:sp>
        <p:nvSpPr>
          <p:cNvPr id="23" name="TextBox 22">
            <a:extLst>
              <a:ext uri="{FF2B5EF4-FFF2-40B4-BE49-F238E27FC236}">
                <a16:creationId xmlns:a16="http://schemas.microsoft.com/office/drawing/2014/main" id="{76927E1C-632A-2B46-A442-8426F409F5EA}"/>
              </a:ext>
            </a:extLst>
          </p:cNvPr>
          <p:cNvSpPr txBox="1"/>
          <p:nvPr/>
        </p:nvSpPr>
        <p:spPr>
          <a:xfrm>
            <a:off x="6228203" y="1112918"/>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2 Years</a:t>
            </a:r>
          </a:p>
        </p:txBody>
      </p:sp>
      <p:sp>
        <p:nvSpPr>
          <p:cNvPr id="26" name="TextBox 25">
            <a:extLst>
              <a:ext uri="{FF2B5EF4-FFF2-40B4-BE49-F238E27FC236}">
                <a16:creationId xmlns:a16="http://schemas.microsoft.com/office/drawing/2014/main" id="{63709D6D-5A69-1314-A46F-527679D8AA5A}"/>
              </a:ext>
            </a:extLst>
          </p:cNvPr>
          <p:cNvSpPr txBox="1"/>
          <p:nvPr/>
        </p:nvSpPr>
        <p:spPr>
          <a:xfrm>
            <a:off x="10971424" y="1145139"/>
            <a:ext cx="1079187" cy="326066"/>
          </a:xfrm>
          <a:prstGeom prst="rect">
            <a:avLst/>
          </a:prstGeom>
        </p:spPr>
        <p:txBody>
          <a:bodyPr vert="horz" wrap="square" lIns="0" tIns="0" rIns="0" bIns="0" rtlCol="0" anchor="t" anchorCtr="0">
            <a:noAutofit/>
          </a:bodyPr>
          <a:lstStyle/>
          <a:p>
            <a:pPr algn="l">
              <a:spcAft>
                <a:spcPts val="600"/>
              </a:spcAft>
            </a:pPr>
            <a:r>
              <a:rPr lang="en-GB" sz="1500" b="1">
                <a:solidFill>
                  <a:schemeClr val="tx2"/>
                </a:solidFill>
              </a:rPr>
              <a:t>5 Years</a:t>
            </a:r>
          </a:p>
        </p:txBody>
      </p:sp>
      <p:sp>
        <p:nvSpPr>
          <p:cNvPr id="14" name="TextBox 13">
            <a:extLst>
              <a:ext uri="{FF2B5EF4-FFF2-40B4-BE49-F238E27FC236}">
                <a16:creationId xmlns:a16="http://schemas.microsoft.com/office/drawing/2014/main" id="{E0324790-D1C8-E6F9-E431-1458DE59AB95}"/>
              </a:ext>
            </a:extLst>
          </p:cNvPr>
          <p:cNvSpPr txBox="1"/>
          <p:nvPr/>
        </p:nvSpPr>
        <p:spPr>
          <a:xfrm>
            <a:off x="448976" y="2382729"/>
            <a:ext cx="7537219" cy="4489499"/>
          </a:xfrm>
          <a:prstGeom prst="rect">
            <a:avLst/>
          </a:prstGeom>
          <a:noFill/>
        </p:spPr>
        <p:txBody>
          <a:bodyPr wrap="square">
            <a:spAutoFit/>
          </a:bodyPr>
          <a:lstStyle/>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Establish a centralised hazardous waste treatment and disposal facility at </a:t>
            </a:r>
            <a:r>
              <a:rPr lang="en-GB" sz="1600" b="0" i="0" u="none" strike="noStrike" kern="1200" dirty="0" err="1">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Alang</a:t>
            </a: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 for asbestos, PCBs, and heavy metal residues and other identified hazardous wastes  </a:t>
            </a:r>
            <a:endParaRPr lang="en-GB" sz="1600" b="0" i="0" u="none" strike="noStrike"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Facilitate technology transfer partnerships for mechanised cutting, remote-operated cranes, and AI-based hazard detection </a:t>
            </a:r>
            <a:endParaRPr lang="en-GB" sz="1600" b="0" i="0" u="none" strike="noStrike"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Achieve zero wastewater discharge from ship recycling facilities through advanced effluent treatment </a:t>
            </a:r>
            <a:endParaRPr lang="en-GB" sz="1600" b="0" i="0" u="none" strike="noStrike"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Pilot digital twin monitoring for high-volume yards to track dismantling progress, emissions, and waste streams in real time </a:t>
            </a:r>
          </a:p>
          <a:p>
            <a:pPr marL="342900" indent="-342900" algn="just" fontAlgn="t">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Mandate minimum material recovery rates (target: 98% by mass for steel) for all recycled ships</a:t>
            </a:r>
            <a:endParaRPr lang="en-GB" sz="1600" b="0" i="0" u="none" strike="noStrike"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342900" indent="-342900" algn="just" rtl="0" eaLnBrk="1" fontAlgn="t" latinLnBrk="0" hangingPunct="1">
              <a:spcBef>
                <a:spcPts val="600"/>
              </a:spcBef>
              <a:spcAft>
                <a:spcPts val="600"/>
              </a:spcAft>
              <a:buFont typeface="+mj-lt"/>
              <a:buAutoNum type="arabicPeriod"/>
            </a:pPr>
            <a:r>
              <a:rPr lang="en-GB" sz="1600" b="0" i="0" u="none" strike="noStrike" kern="12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rPr>
              <a:t>Fund pilots for: Renewable-powered plasma cutting systems; Heat recovery integration in dismantling processes; Shared compressed-air systems to replace diesel compressors.</a:t>
            </a:r>
            <a:endParaRPr lang="en-GB" sz="1600" b="0" i="0" u="none" strike="noStrike"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342900" indent="-342900" algn="just">
              <a:lnSpc>
                <a:spcPct val="140000"/>
              </a:lnSpc>
              <a:spcBef>
                <a:spcPts val="600"/>
              </a:spcBef>
              <a:spcAft>
                <a:spcPts val="600"/>
              </a:spcAft>
              <a:buFont typeface="+mj-lt"/>
              <a:buAutoNum type="arabicPeriod"/>
            </a:pPr>
            <a:endParaRPr lang="en-GB" sz="1400" b="1" dirty="0">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p:txBody>
      </p:sp>
      <p:pic>
        <p:nvPicPr>
          <p:cNvPr id="15" name="Picture Placeholder 14" descr="Aerial view of containers in a warehouse">
            <a:extLst>
              <a:ext uri="{FF2B5EF4-FFF2-40B4-BE49-F238E27FC236}">
                <a16:creationId xmlns:a16="http://schemas.microsoft.com/office/drawing/2014/main" id="{D69C462D-0904-E129-1ABC-3D6CA57A0BEF}"/>
              </a:ext>
            </a:extLst>
          </p:cNvPr>
          <p:cNvPicPr>
            <a:picLocks noChangeAspect="1"/>
          </p:cNvPicPr>
          <p:nvPr/>
        </p:nvPicPr>
        <p:blipFill>
          <a:blip r:embed="rId7">
            <a:extLst>
              <a:ext uri="{28A0092B-C50C-407E-A947-70E740481C1C}">
                <a14:useLocalDpi xmlns:a14="http://schemas.microsoft.com/office/drawing/2010/main" val="0"/>
              </a:ext>
            </a:extLst>
          </a:blip>
          <a:srcRect l="19391" r="19391"/>
          <a:stretch/>
        </p:blipFill>
        <p:spPr>
          <a:xfrm>
            <a:off x="8223268" y="2310084"/>
            <a:ext cx="3304098" cy="4223590"/>
          </a:xfrm>
          <a:prstGeom prst="rect">
            <a:avLst/>
          </a:prstGeom>
        </p:spPr>
      </p:pic>
    </p:spTree>
    <p:extLst>
      <p:ext uri="{BB962C8B-B14F-4D97-AF65-F5344CB8AC3E}">
        <p14:creationId xmlns:p14="http://schemas.microsoft.com/office/powerpoint/2010/main" val="3428488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062EE89-01D8-F173-4299-8B951C0FB8A4}"/>
              </a:ext>
            </a:extLst>
          </p:cNvPr>
          <p:cNvGraphicFramePr>
            <a:graphicFrameLocks noChangeAspect="1"/>
          </p:cNvGraphicFramePr>
          <p:nvPr>
            <p:custDataLst>
              <p:tags r:id="rId1"/>
            </p:custDataLst>
            <p:extLst>
              <p:ext uri="{D42A27DB-BD31-4B8C-83A1-F6EECF244321}">
                <p14:modId xmlns:p14="http://schemas.microsoft.com/office/powerpoint/2010/main" val="1775197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8" name="think-cell data - do not delete" hidden="1">
                        <a:extLst>
                          <a:ext uri="{FF2B5EF4-FFF2-40B4-BE49-F238E27FC236}">
                            <a16:creationId xmlns:a16="http://schemas.microsoft.com/office/drawing/2014/main" id="{7062EE89-01D8-F173-4299-8B951C0FB8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35BB54D-0D72-816B-2ED1-7E3894F52210}"/>
              </a:ext>
            </a:extLst>
          </p:cNvPr>
          <p:cNvSpPr>
            <a:spLocks noGrp="1"/>
          </p:cNvSpPr>
          <p:nvPr>
            <p:ph type="title"/>
          </p:nvPr>
        </p:nvSpPr>
        <p:spPr/>
        <p:txBody>
          <a:bodyPr vert="horz" lIns="0" tIns="0" rIns="0" bIns="0" rtlCol="0" anchor="t" anchorCtr="0">
            <a:noAutofit/>
          </a:bodyPr>
          <a:lstStyle/>
          <a:p>
            <a:pPr algn="ctr"/>
            <a:r>
              <a:rPr lang="en-GB" sz="4000" b="1">
                <a:latin typeface="Source Sans Pro" panose="020B0503030403020204" pitchFamily="34" charset="0"/>
                <a:ea typeface="Source Sans Pro" panose="020B0503030403020204" pitchFamily="34" charset="0"/>
              </a:rPr>
              <a:t>Stakeholder Mapping</a:t>
            </a:r>
          </a:p>
        </p:txBody>
      </p:sp>
      <p:graphicFrame>
        <p:nvGraphicFramePr>
          <p:cNvPr id="4" name="Table 3">
            <a:extLst>
              <a:ext uri="{FF2B5EF4-FFF2-40B4-BE49-F238E27FC236}">
                <a16:creationId xmlns:a16="http://schemas.microsoft.com/office/drawing/2014/main" id="{3C130BC0-D3A1-F863-37F3-49EF02A6E865}"/>
              </a:ext>
            </a:extLst>
          </p:cNvPr>
          <p:cNvGraphicFramePr>
            <a:graphicFrameLocks noGrp="1"/>
          </p:cNvGraphicFramePr>
          <p:nvPr>
            <p:extLst>
              <p:ext uri="{D42A27DB-BD31-4B8C-83A1-F6EECF244321}">
                <p14:modId xmlns:p14="http://schemas.microsoft.com/office/powerpoint/2010/main" val="50759921"/>
              </p:ext>
            </p:extLst>
          </p:nvPr>
        </p:nvGraphicFramePr>
        <p:xfrm>
          <a:off x="590478" y="1212924"/>
          <a:ext cx="10991507" cy="5380923"/>
        </p:xfrm>
        <a:graphic>
          <a:graphicData uri="http://schemas.openxmlformats.org/drawingml/2006/table">
            <a:tbl>
              <a:tblPr firstRow="1" firstCol="1" bandRow="1">
                <a:tableStyleId>{7E9639D4-E3E2-4D34-9284-5A2195B3D0D7}</a:tableStyleId>
              </a:tblPr>
              <a:tblGrid>
                <a:gridCol w="3886202">
                  <a:extLst>
                    <a:ext uri="{9D8B030D-6E8A-4147-A177-3AD203B41FA5}">
                      <a16:colId xmlns:a16="http://schemas.microsoft.com/office/drawing/2014/main" val="3731835721"/>
                    </a:ext>
                  </a:extLst>
                </a:gridCol>
                <a:gridCol w="2791867">
                  <a:extLst>
                    <a:ext uri="{9D8B030D-6E8A-4147-A177-3AD203B41FA5}">
                      <a16:colId xmlns:a16="http://schemas.microsoft.com/office/drawing/2014/main" val="1421696245"/>
                    </a:ext>
                  </a:extLst>
                </a:gridCol>
                <a:gridCol w="2142586">
                  <a:extLst>
                    <a:ext uri="{9D8B030D-6E8A-4147-A177-3AD203B41FA5}">
                      <a16:colId xmlns:a16="http://schemas.microsoft.com/office/drawing/2014/main" val="1041240008"/>
                    </a:ext>
                  </a:extLst>
                </a:gridCol>
                <a:gridCol w="2170852">
                  <a:extLst>
                    <a:ext uri="{9D8B030D-6E8A-4147-A177-3AD203B41FA5}">
                      <a16:colId xmlns:a16="http://schemas.microsoft.com/office/drawing/2014/main" val="1098968695"/>
                    </a:ext>
                  </a:extLst>
                </a:gridCol>
              </a:tblGrid>
              <a:tr h="208492">
                <a:tc>
                  <a:txBody>
                    <a:bodyPr/>
                    <a:lstStyle/>
                    <a:p>
                      <a:pPr algn="ctr">
                        <a:lnSpc>
                          <a:spcPct val="115000"/>
                        </a:lnSpc>
                        <a:buNone/>
                      </a:pPr>
                      <a:r>
                        <a:rPr lang="en-GB" sz="1200">
                          <a:effectLst/>
                          <a:latin typeface="Source Sans Pro"/>
                          <a:ea typeface="Source Sans Pro"/>
                        </a:rPr>
                        <a:t>Outcome Area</a:t>
                      </a:r>
                      <a:endParaRPr lang="en-GB" sz="1200" b="1">
                        <a:solidFill>
                          <a:srgbClr val="082A75"/>
                        </a:solidFill>
                        <a:effectLst/>
                        <a:latin typeface="Source Sans Pro"/>
                        <a:ea typeface="Source Sans Pro"/>
                        <a:cs typeface="Angsana New" panose="02020603050405020304" pitchFamily="18" charset="-34"/>
                      </a:endParaRPr>
                    </a:p>
                  </a:txBody>
                  <a:tcPr marL="31548" marR="31548" marT="0" marB="0">
                    <a:solidFill>
                      <a:srgbClr val="04AA9E"/>
                    </a:solidFill>
                  </a:tcPr>
                </a:tc>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Lead Ministry / Authority</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Supporting Agencies</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tc>
                  <a:txBody>
                    <a:bodyPr/>
                    <a:lstStyle/>
                    <a:p>
                      <a:pPr algn="ctr">
                        <a:lnSpc>
                          <a:spcPct val="115000"/>
                        </a:lnSpc>
                        <a:buNone/>
                      </a:pPr>
                      <a:r>
                        <a:rPr lang="en-GB" sz="1200">
                          <a:effectLst/>
                          <a:latin typeface="Source Sans Pro" panose="020B0503030403020204" pitchFamily="34" charset="0"/>
                          <a:ea typeface="Source Sans Pro" panose="020B0503030403020204" pitchFamily="34" charset="0"/>
                        </a:rPr>
                        <a:t>Industry Stakeholders</a:t>
                      </a:r>
                      <a:endParaRPr lang="en-GB" sz="1200" b="1">
                        <a:solidFill>
                          <a:srgbClr val="082A75"/>
                        </a:solidFill>
                        <a:effectLst/>
                        <a:latin typeface="Source Sans Pro" panose="020B0503030403020204" pitchFamily="34" charset="0"/>
                        <a:ea typeface="Source Sans Pro" panose="020B0503030403020204" pitchFamily="34" charset="0"/>
                        <a:cs typeface="Angsana New" panose="02020603050405020304" pitchFamily="18" charset="-34"/>
                      </a:endParaRPr>
                    </a:p>
                  </a:txBody>
                  <a:tcPr marL="31548" marR="31548" marT="0" marB="0">
                    <a:solidFill>
                      <a:srgbClr val="04AA9E"/>
                    </a:solidFill>
                  </a:tcPr>
                </a:tc>
                <a:extLst>
                  <a:ext uri="{0D108BD9-81ED-4DB2-BD59-A6C34878D82A}">
                    <a16:rowId xmlns:a16="http://schemas.microsoft.com/office/drawing/2014/main" val="2731552967"/>
                  </a:ext>
                </a:extLst>
              </a:tr>
              <a:tr h="765994">
                <a:tc>
                  <a:txBody>
                    <a:bodyPr/>
                    <a:lstStyle/>
                    <a:p>
                      <a:pPr>
                        <a:lnSpc>
                          <a:spcPct val="115000"/>
                        </a:lnSpc>
                        <a:buNone/>
                      </a:pPr>
                      <a:r>
                        <a:rPr lang="en-GB" sz="1200" dirty="0">
                          <a:effectLst/>
                          <a:latin typeface="Times New Roman" panose="02020603050405020304" pitchFamily="18" charset="0"/>
                          <a:ea typeface="Source Sans Pro" panose="020B0503030403020204" pitchFamily="34" charset="0"/>
                          <a:cs typeface="Times New Roman" panose="02020603050405020304" pitchFamily="18" charset="0"/>
                        </a:rPr>
                        <a:t>HKC-aligned regulatory framework and national coordination</a:t>
                      </a:r>
                      <a:endParaRPr lang="en-GB" sz="1200" b="1" dirty="0">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 (National Authority )</a:t>
                      </a:r>
                      <a:b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b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MBs/ </a:t>
                      </a: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ROsMoEFCC</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hip recycling yard owners</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706267046"/>
                  </a:ext>
                </a:extLst>
              </a:tr>
              <a:tr h="377188">
                <a:tc>
                  <a:txBody>
                    <a:bodyPr/>
                    <a:lstStyle/>
                    <a:p>
                      <a:pPr>
                        <a:lnSpc>
                          <a:spcPct val="115000"/>
                        </a:lnSpc>
                        <a:buNone/>
                      </a:pPr>
                      <a:r>
                        <a:rPr lang="en-GB" sz="1200">
                          <a:effectLst/>
                          <a:latin typeface="Times New Roman" panose="02020603050405020304" pitchFamily="18" charset="0"/>
                          <a:ea typeface="Source Sans Pro" panose="020B0503030403020204" pitchFamily="34" charset="0"/>
                          <a:cs typeface="Times New Roman" panose="02020603050405020304" pitchFamily="18" charset="0"/>
                        </a:rPr>
                        <a:t>HKC-compliant infrastructure and yard modernisation</a:t>
                      </a:r>
                      <a:endParaRPr lang="en-GB" sz="1200" b="1">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SMB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ROs/ SPCBs</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hip recycling yards, EPC contractors</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934865433"/>
                  </a:ext>
                </a:extLst>
              </a:tr>
              <a:tr h="450343">
                <a:tc>
                  <a:txBody>
                    <a:bodyPr/>
                    <a:lstStyle/>
                    <a:p>
                      <a:pPr>
                        <a:lnSpc>
                          <a:spcPct val="115000"/>
                        </a:lnSpc>
                        <a:buNone/>
                      </a:pPr>
                      <a:r>
                        <a:rPr lang="en-GB" sz="1200" dirty="0">
                          <a:effectLst/>
                          <a:latin typeface="Times New Roman" panose="02020603050405020304" pitchFamily="18" charset="0"/>
                          <a:ea typeface="Source Sans Pro" panose="020B0503030403020204" pitchFamily="34" charset="0"/>
                          <a:cs typeface="Times New Roman" panose="02020603050405020304" pitchFamily="18" charset="0"/>
                        </a:rPr>
                        <a:t>Inventory of Hazardous Materials (IHM) compliance and enforcement</a:t>
                      </a:r>
                      <a:endParaRPr lang="en-GB" sz="1200" b="1" dirty="0">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DGS (National Authority)</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ROs/SMB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hipowners, recycling yards, IHM service providers</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815882751"/>
                  </a:ext>
                </a:extLst>
              </a:tr>
              <a:tr h="425323">
                <a:tc>
                  <a:txBody>
                    <a:bodyPr/>
                    <a:lstStyle/>
                    <a:p>
                      <a:pPr>
                        <a:lnSpc>
                          <a:spcPct val="115000"/>
                        </a:lnSpc>
                        <a:buNone/>
                      </a:pPr>
                      <a:r>
                        <a:rPr lang="en-GB" sz="1200">
                          <a:effectLst/>
                          <a:latin typeface="Times New Roman" panose="02020603050405020304" pitchFamily="18" charset="0"/>
                          <a:ea typeface="Source Sans Pro" panose="020B0503030403020204" pitchFamily="34" charset="0"/>
                          <a:cs typeface="Times New Roman" panose="02020603050405020304" pitchFamily="18" charset="0"/>
                        </a:rPr>
                        <a:t>Centralised hazardous waste management and TSDF integration (Alang)</a:t>
                      </a:r>
                      <a:endParaRPr lang="en-GB" sz="1200" b="1">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MB</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SPCBs/CPCB</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SDF operators, recycling yards</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757450273"/>
                  </a:ext>
                </a:extLst>
              </a:tr>
              <a:tr h="377188">
                <a:tc>
                  <a:txBody>
                    <a:bodyPr/>
                    <a:lstStyle/>
                    <a:p>
                      <a:pPr>
                        <a:lnSpc>
                          <a:spcPct val="115000"/>
                        </a:lnSpc>
                        <a:buNone/>
                      </a:pPr>
                      <a:r>
                        <a:rPr lang="en-GB" sz="1200">
                          <a:effectLst/>
                          <a:latin typeface="Times New Roman" panose="02020603050405020304" pitchFamily="18" charset="0"/>
                          <a:ea typeface="Source Sans Pro" panose="020B0503030403020204" pitchFamily="34" charset="0"/>
                          <a:cs typeface="Times New Roman" panose="02020603050405020304" pitchFamily="18" charset="0"/>
                        </a:rPr>
                        <a:t>Green Ship Recycling Park development (shared facilities model)</a:t>
                      </a:r>
                      <a:endParaRPr lang="en-GB" sz="1200" b="1">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MB</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PCB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hip recycling industry, utilities providers</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3856216"/>
                  </a:ext>
                </a:extLst>
              </a:tr>
              <a:tr h="765994">
                <a:tc>
                  <a:txBody>
                    <a:bodyPr/>
                    <a:lstStyle/>
                    <a:p>
                      <a:pPr>
                        <a:lnSpc>
                          <a:spcPct val="115000"/>
                        </a:lnSpc>
                        <a:buNone/>
                      </a:pPr>
                      <a:r>
                        <a:rPr lang="en-GB" sz="1200" dirty="0">
                          <a:effectLst/>
                          <a:latin typeface="Times New Roman" panose="02020603050405020304" pitchFamily="18" charset="0"/>
                          <a:ea typeface="Source Sans Pro" panose="020B0503030403020204" pitchFamily="34" charset="0"/>
                          <a:cs typeface="Times New Roman" panose="02020603050405020304" pitchFamily="18" charset="0"/>
                        </a:rPr>
                        <a:t>Digital monitoring, reporting, and national recycling database (NLP-Marine integration)</a:t>
                      </a:r>
                      <a:endParaRPr lang="en-GB" sz="1200" b="1" dirty="0">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National Authority )</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GMB / SMBs, NCoEGPS</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Yards, shipowners, technology providers</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760358523"/>
                  </a:ext>
                </a:extLst>
              </a:tr>
              <a:tr h="765994">
                <a:tc>
                  <a:txBody>
                    <a:bodyPr/>
                    <a:lstStyle/>
                    <a:p>
                      <a:pPr>
                        <a:lnSpc>
                          <a:spcPct val="115000"/>
                        </a:lnSpc>
                        <a:buNone/>
                      </a:pPr>
                      <a:r>
                        <a:rPr lang="en-GB" sz="1200" dirty="0">
                          <a:effectLst/>
                          <a:latin typeface="Times New Roman" panose="02020603050405020304" pitchFamily="18" charset="0"/>
                          <a:ea typeface="Source Sans Pro" panose="020B0503030403020204" pitchFamily="34" charset="0"/>
                          <a:cs typeface="Times New Roman" panose="02020603050405020304" pitchFamily="18" charset="0"/>
                        </a:rPr>
                        <a:t>Circular economy integration and green steel linkage</a:t>
                      </a:r>
                      <a:endParaRPr lang="en-GB" sz="1200" b="1" dirty="0">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 (National Authority)</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EFCC</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Ministry of Steel/ GMB / SMB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teel rerollers, recyclers, manufacturing sector</a:t>
                      </a:r>
                      <a:endParaRPr lang="en-GB" sz="14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747033843"/>
                  </a:ext>
                </a:extLst>
              </a:tr>
              <a:tr h="765994">
                <a:tc>
                  <a:txBody>
                    <a:bodyPr/>
                    <a:lstStyle/>
                    <a:p>
                      <a:pPr>
                        <a:lnSpc>
                          <a:spcPct val="115000"/>
                        </a:lnSpc>
                        <a:buNone/>
                      </a:pPr>
                      <a:r>
                        <a:rPr lang="en-GB" sz="1200" dirty="0">
                          <a:effectLst/>
                          <a:latin typeface="Times New Roman" panose="02020603050405020304" pitchFamily="18" charset="0"/>
                          <a:ea typeface="Source Sans Pro" panose="020B0503030403020204" pitchFamily="34" charset="0"/>
                          <a:cs typeface="Times New Roman" panose="02020603050405020304" pitchFamily="18" charset="0"/>
                        </a:rPr>
                        <a:t>Carbon accounting and emissions disclosure for ship recycling</a:t>
                      </a:r>
                      <a:endParaRPr lang="en-GB" sz="1200" b="1" dirty="0">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DGS(National Authority )</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EFCC</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GMB / SMBs</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Ship recycling yards, auditors</a:t>
                      </a:r>
                      <a:endParaRPr lang="en-GB" sz="14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83901612"/>
                  </a:ext>
                </a:extLst>
              </a:tr>
              <a:tr h="425323">
                <a:tc>
                  <a:txBody>
                    <a:bodyPr/>
                    <a:lstStyle/>
                    <a:p>
                      <a:pPr>
                        <a:lnSpc>
                          <a:spcPct val="115000"/>
                        </a:lnSpc>
                        <a:buNone/>
                      </a:pPr>
                      <a:r>
                        <a:rPr lang="en-GB" sz="1200" dirty="0">
                          <a:effectLst/>
                          <a:latin typeface="Times New Roman" panose="02020603050405020304" pitchFamily="18" charset="0"/>
                          <a:ea typeface="Source Sans Pro" panose="020B0503030403020204" pitchFamily="34" charset="0"/>
                          <a:cs typeface="Times New Roman" panose="02020603050405020304" pitchFamily="18" charset="0"/>
                        </a:rPr>
                        <a:t>Financial incentives and investment enablement for green technologies</a:t>
                      </a:r>
                      <a:endParaRPr lang="en-GB" sz="1200" b="1" dirty="0">
                        <a:solidFill>
                          <a:srgbClr val="082A75"/>
                        </a:solidFill>
                        <a:effectLst/>
                        <a:latin typeface="Times New Roman" panose="02020603050405020304" pitchFamily="18" charset="0"/>
                        <a:ea typeface="Source Sans Pro" panose="020B0503030403020204" pitchFamily="34" charset="0"/>
                        <a:cs typeface="Times New Roman" panose="02020603050405020304" pitchFamily="18" charset="0"/>
                      </a:endParaRPr>
                    </a:p>
                  </a:txBody>
                  <a:tcPr marL="31548" marR="31548" marT="0" marB="0">
                    <a:solidFill>
                      <a:schemeClr val="bg1">
                        <a:lumMod val="85000"/>
                      </a:schemeClr>
                    </a:solidFill>
                  </a:tcPr>
                </a:tc>
                <a:tc>
                  <a:txBody>
                    <a:bodyPr/>
                    <a:lstStyle/>
                    <a:p>
                      <a:pPr>
                        <a:lnSpc>
                          <a:spcPct val="115000"/>
                        </a:lnSpc>
                        <a:buNone/>
                      </a:pPr>
                      <a:r>
                        <a:rPr lang="en-GB" sz="12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inistry of Finance</a:t>
                      </a:r>
                      <a:endParaRPr lang="en-GB" sz="1200" b="1">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err="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oPSW</a:t>
                      </a: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NITI Aayog, SMB</a:t>
                      </a:r>
                      <a:endParaRPr lang="en-GB" sz="12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15000"/>
                        </a:lnSpc>
                        <a:buNone/>
                      </a:pPr>
                      <a:r>
                        <a:rPr lang="en-GB" sz="12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Yard owners, financiers, equipment suppliers</a:t>
                      </a:r>
                      <a:endParaRPr lang="en-GB" sz="1400" b="1" dirty="0">
                        <a:solidFill>
                          <a:schemeClr val="tx1"/>
                        </a:solidFill>
                        <a:effectLst/>
                        <a:latin typeface="Times New Roman" panose="020206030504050203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810249141"/>
                  </a:ext>
                </a:extLst>
              </a:tr>
            </a:tbl>
          </a:graphicData>
        </a:graphic>
      </p:graphicFrame>
      <p:pic>
        <p:nvPicPr>
          <p:cNvPr id="10" name="Picture 2">
            <a:extLst>
              <a:ext uri="{FF2B5EF4-FFF2-40B4-BE49-F238E27FC236}">
                <a16:creationId xmlns:a16="http://schemas.microsoft.com/office/drawing/2014/main" id="{4B46144A-5B25-CB38-A937-E80D91F9FA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772" y="184077"/>
            <a:ext cx="1201770" cy="510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2769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Grey 1">
      <a:srgbClr val="333333"/>
    </a:custClr>
    <a:custClr name="Grey 2">
      <a:srgbClr val="666666"/>
    </a:custClr>
    <a:custClr name="Grey 3">
      <a:srgbClr val="989898"/>
    </a:custClr>
    <a:custClr name="Grey 4">
      <a:srgbClr val="B2B2B2"/>
    </a:custClr>
    <a:custClr name="Grey 5">
      <a:srgbClr val="E5E5E5"/>
    </a:custClr>
    <a:custClr name="Traffic Light Red">
      <a:srgbClr val="ED2124"/>
    </a:custClr>
    <a:custClr name="Traffic Light Yellow">
      <a:srgbClr val="F1C44D"/>
    </a:custClr>
    <a:custClr name="Traffic Light Green">
      <a:srgbClr val="269924"/>
    </a:custClr>
  </a:custClrLst>
  <a:extLst>
    <a:ext uri="{05A4C25C-085E-4340-85A3-A5531E510DB2}">
      <thm15:themeFamily xmlns:thm15="http://schemas.microsoft.com/office/thememl/2012/main" name="KPMG Widescreen Standard Template.potx" id="{80061727-175C-439B-96C4-68FEA14ED17B}" vid="{E6666274-6546-451D-AB02-12FB4623E29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a5f8ab96-b647-44ee-8051-6ce0fea232c8" xsi:nil="true"/>
    <lcf76f155ced4ddcb4097134ff3c332f xmlns="cfcad695-8e50-411e-a456-8e9c82a2da99">
      <Terms xmlns="http://schemas.microsoft.com/office/infopath/2007/PartnerControls"/>
    </lcf76f155ced4ddcb4097134ff3c332f>
    <_ip_UnifiedCompliancePolicyProperties xmlns="http://schemas.microsoft.com/sharepoint/v3" xsi:nil="true"/>
    <Tables xmlns="cfcad695-8e50-411e-a456-8e9c82a2da9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42B1139D973854BA93A271179908AD3" ma:contentTypeVersion="22" ma:contentTypeDescription="Create a new document." ma:contentTypeScope="" ma:versionID="66029c58aa90e16b1b59dad35235f655">
  <xsd:schema xmlns:xsd="http://www.w3.org/2001/XMLSchema" xmlns:xs="http://www.w3.org/2001/XMLSchema" xmlns:p="http://schemas.microsoft.com/office/2006/metadata/properties" xmlns:ns1="http://schemas.microsoft.com/sharepoint/v3" xmlns:ns2="cfcad695-8e50-411e-a456-8e9c82a2da99" xmlns:ns3="ea17281b-0490-415e-9ab1-877a36469ea2" xmlns:ns4="a5f8ab96-b647-44ee-8051-6ce0fea232c8" targetNamespace="http://schemas.microsoft.com/office/2006/metadata/properties" ma:root="true" ma:fieldsID="2f8ecae8965320adb96d9e7c4f7fed32" ns1:_="" ns2:_="" ns3:_="" ns4:_="">
    <xsd:import namespace="http://schemas.microsoft.com/sharepoint/v3"/>
    <xsd:import namespace="cfcad695-8e50-411e-a456-8e9c82a2da99"/>
    <xsd:import namespace="ea17281b-0490-415e-9ab1-877a36469ea2"/>
    <xsd:import namespace="a5f8ab96-b647-44ee-8051-6ce0fea232c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lcf76f155ced4ddcb4097134ff3c332f" minOccurs="0"/>
                <xsd:element ref="ns4:TaxCatchAll"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Location" minOccurs="0"/>
                <xsd:element ref="ns2:Tabl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cad695-8e50-411e-a456-8e9c82a2da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782c4b5-a105-41a1-bdd4-3e36c38a124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Location" ma:index="27" nillable="true" ma:displayName="Location" ma:description="" ma:indexed="true" ma:internalName="MediaServiceLocation" ma:readOnly="true">
      <xsd:simpleType>
        <xsd:restriction base="dms:Text"/>
      </xsd:simpleType>
    </xsd:element>
    <xsd:element name="Tables" ma:index="28" nillable="true" ma:displayName="Tables" ma:description="These can be used as inspiration for the SOV." ma:format="Dropdown" ma:internalName="Tables">
      <xsd:simpleType>
        <xsd:restriction base="dms:Note">
          <xsd:maxLength value="255"/>
        </xsd:restriction>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a17281b-0490-415e-9ab1-877a36469ea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f8ab96-b647-44ee-8051-6ce0fea232c8"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08b35f16-dc66-4888-9cf0-a71e7fa81edc}" ma:internalName="TaxCatchAll" ma:showField="CatchAllData" ma:web="ea17281b-0490-415e-9ab1-877a36469e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60569F-7BAB-4921-A302-EC84297AC01A}">
  <ds:schemaRefs>
    <ds:schemaRef ds:uri="http://schemas.microsoft.com/sharepoint/v3/contenttype/forms"/>
  </ds:schemaRefs>
</ds:datastoreItem>
</file>

<file path=customXml/itemProps2.xml><?xml version="1.0" encoding="utf-8"?>
<ds:datastoreItem xmlns:ds="http://schemas.openxmlformats.org/officeDocument/2006/customXml" ds:itemID="{AE774FAE-AEAF-4E65-8FA8-2942BB51A799}">
  <ds:schemaRefs>
    <ds:schemaRef ds:uri="a5f8ab96-b647-44ee-8051-6ce0fea232c8"/>
    <ds:schemaRef ds:uri="cfcad695-8e50-411e-a456-8e9c82a2da99"/>
    <ds:schemaRef ds:uri="ea17281b-0490-415e-9ab1-877a36469ea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EF2BE23-8A53-48F7-801D-6B9CA6F2638F}">
  <ds:schemaRefs>
    <ds:schemaRef ds:uri="a5f8ab96-b647-44ee-8051-6ce0fea232c8"/>
    <ds:schemaRef ds:uri="cfcad695-8e50-411e-a456-8e9c82a2da99"/>
    <ds:schemaRef ds:uri="ea17281b-0490-415e-9ab1-877a36469ea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d2d5684-10a2-4364-952f-c78858d41697}" enabled="1" method="Standard" siteId="{4a3454a0-8cf4-4a9c-b1c0-6ce4d1495f82}" removed="0"/>
</clbl:labelList>
</file>

<file path=docProps/app.xml><?xml version="1.0" encoding="utf-8"?>
<Properties xmlns="http://schemas.openxmlformats.org/officeDocument/2006/extended-properties" xmlns:vt="http://schemas.openxmlformats.org/officeDocument/2006/docPropsVTypes">
  <TotalTime>1336</TotalTime>
  <Words>1645</Words>
  <Application>Microsoft Macintosh PowerPoint</Application>
  <PresentationFormat>Widescreen</PresentationFormat>
  <Paragraphs>206</Paragraphs>
  <Slides>12</Slides>
  <Notes>9</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3" baseType="lpstr">
      <vt:lpstr>Aptos</vt:lpstr>
      <vt:lpstr>Aptos Display</vt:lpstr>
      <vt:lpstr>Arial</vt:lpstr>
      <vt:lpstr>KPMG Bold</vt:lpstr>
      <vt:lpstr>Source Sans Pro</vt:lpstr>
      <vt:lpstr>Times New Roman</vt:lpstr>
      <vt:lpstr>Wingdings</vt:lpstr>
      <vt:lpstr>Office Theme</vt:lpstr>
      <vt:lpstr>KPMG Widescreen [16:9] Feb 2022</vt:lpstr>
      <vt:lpstr>1_Office Theme</vt:lpstr>
      <vt:lpstr>think-cell Slide</vt:lpstr>
      <vt:lpstr>PowerPoint Presentation</vt:lpstr>
      <vt:lpstr>Green Shipping Initiatives</vt:lpstr>
      <vt:lpstr>Ship Recycling</vt:lpstr>
      <vt:lpstr>Objectives of the Session </vt:lpstr>
      <vt:lpstr>PowerPoint Presentation</vt:lpstr>
      <vt:lpstr>Indicative Action Pathway</vt:lpstr>
      <vt:lpstr>Indicative Action Pathway</vt:lpstr>
      <vt:lpstr>Indicative Action Pathway</vt:lpstr>
      <vt:lpstr>Stakeholder Mapping</vt:lpstr>
      <vt:lpstr>Stakeholder Mapping</vt:lpstr>
      <vt:lpstr>Key Decisions Expected</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arshi Datta</dc:creator>
  <cp:lastModifiedBy>Gopi Krishna</cp:lastModifiedBy>
  <cp:revision>7</cp:revision>
  <cp:lastPrinted>2025-10-14T13:51:12Z</cp:lastPrinted>
  <dcterms:created xsi:type="dcterms:W3CDTF">2025-09-22T10:06:35Z</dcterms:created>
  <dcterms:modified xsi:type="dcterms:W3CDTF">2026-01-13T11:4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2B1139D973854BA93A271179908AD3</vt:lpwstr>
  </property>
  <property fmtid="{D5CDD505-2E9C-101B-9397-08002B2CF9AE}" pid="3" name="MediaServiceImageTags">
    <vt:lpwstr/>
  </property>
</Properties>
</file>